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6588" r:id="rId1"/>
  </p:sldMasterIdLst>
  <p:notesMasterIdLst>
    <p:notesMasterId r:id="rId19"/>
  </p:notesMasterIdLst>
  <p:handoutMasterIdLst>
    <p:handoutMasterId r:id="rId20"/>
  </p:handoutMasterIdLst>
  <p:sldIdLst>
    <p:sldId id="256" r:id="rId2"/>
    <p:sldId id="274" r:id="rId3"/>
    <p:sldId id="268" r:id="rId4"/>
    <p:sldId id="262" r:id="rId5"/>
    <p:sldId id="277" r:id="rId6"/>
    <p:sldId id="278" r:id="rId7"/>
    <p:sldId id="269" r:id="rId8"/>
    <p:sldId id="276" r:id="rId9"/>
    <p:sldId id="275" r:id="rId10"/>
    <p:sldId id="273" r:id="rId11"/>
    <p:sldId id="271" r:id="rId12"/>
    <p:sldId id="272" r:id="rId13"/>
    <p:sldId id="265" r:id="rId14"/>
    <p:sldId id="264" r:id="rId15"/>
    <p:sldId id="279" r:id="rId16"/>
    <p:sldId id="260" r:id="rId17"/>
    <p:sldId id="261" r:id="rId18"/>
  </p:sldIdLst>
  <p:sldSz cx="9144000" cy="5143500" type="screen16x9"/>
  <p:notesSz cx="6805613" cy="9944100"/>
  <p:custDataLst>
    <p:tags r:id="rId21"/>
  </p:custDataLst>
  <p:defaultTextStyle>
    <a:defPPr>
      <a:defRPr lang="en-US"/>
    </a:defPPr>
    <a:lvl1pPr marL="0" algn="l" defTabSz="87913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1pPr>
    <a:lvl2pPr marL="439565" algn="l" defTabSz="87913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2pPr>
    <a:lvl3pPr marL="879130" algn="l" defTabSz="87913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3pPr>
    <a:lvl4pPr marL="1318695" algn="l" defTabSz="87913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4pPr>
    <a:lvl5pPr marL="1758259" algn="l" defTabSz="87913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5pPr>
    <a:lvl6pPr marL="2197824" algn="l" defTabSz="87913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6pPr>
    <a:lvl7pPr marL="2637389" algn="l" defTabSz="87913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7pPr>
    <a:lvl8pPr marL="3076954" algn="l" defTabSz="87913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8pPr>
    <a:lvl9pPr marL="3516519" algn="l" defTabSz="87913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7722"/>
    <a:srgbClr val="1B223D"/>
    <a:srgbClr val="FFFFFF"/>
    <a:srgbClr val="F3F2F1"/>
    <a:srgbClr val="C8D300"/>
    <a:srgbClr val="DA291C"/>
    <a:srgbClr val="FFCD00"/>
    <a:srgbClr val="001871"/>
    <a:srgbClr val="009FDE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7" autoAdjust="0"/>
    <p:restoredTop sz="96374" autoAdjust="0"/>
  </p:normalViewPr>
  <p:slideViewPr>
    <p:cSldViewPr snapToGrid="0">
      <p:cViewPr varScale="1">
        <p:scale>
          <a:sx n="102" d="100"/>
          <a:sy n="102" d="100"/>
        </p:scale>
        <p:origin x="48" y="4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45" d="100"/>
        <a:sy n="45" d="100"/>
      </p:scale>
      <p:origin x="0" y="-9930"/>
    </p:cViewPr>
  </p:sorterViewPr>
  <p:notesViewPr>
    <p:cSldViewPr snapToGrid="0">
      <p:cViewPr varScale="1">
        <p:scale>
          <a:sx n="58" d="100"/>
          <a:sy n="58" d="100"/>
        </p:scale>
        <p:origin x="2458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9099" cy="497205"/>
          </a:xfrm>
          <a:prstGeom prst="rect">
            <a:avLst/>
          </a:prstGeom>
        </p:spPr>
        <p:txBody>
          <a:bodyPr vert="horz" lIns="94064" tIns="47032" rIns="94064" bIns="47032" rtlCol="0"/>
          <a:lstStyle>
            <a:lvl1pPr algn="l">
              <a:defRPr sz="1200"/>
            </a:lvl1pPr>
          </a:lstStyle>
          <a:p>
            <a:endParaRPr lang="en-US" dirty="0">
              <a:latin typeface="Arial Narrow" panose="020B060602020203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4940" y="1"/>
            <a:ext cx="2949099" cy="497205"/>
          </a:xfrm>
          <a:prstGeom prst="rect">
            <a:avLst/>
          </a:prstGeom>
        </p:spPr>
        <p:txBody>
          <a:bodyPr vert="horz" lIns="94064" tIns="47032" rIns="94064" bIns="47032" rtlCol="0"/>
          <a:lstStyle>
            <a:lvl1pPr algn="r">
              <a:defRPr sz="1200"/>
            </a:lvl1pPr>
          </a:lstStyle>
          <a:p>
            <a:fld id="{CD4DA60F-0BB5-4A3D-B6FA-FDF2FC2558E5}" type="datetimeFigureOut">
              <a:rPr lang="en-US" smtClean="0">
                <a:latin typeface="Arial Narrow" panose="020B0606020202030204" pitchFamily="34" charset="0"/>
              </a:rPr>
              <a:pPr/>
              <a:t>1/28/2025</a:t>
            </a:fld>
            <a:endParaRPr lang="en-US" dirty="0">
              <a:latin typeface="Arial Narrow" panose="020B060602020203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45170"/>
            <a:ext cx="2949099" cy="497205"/>
          </a:xfrm>
          <a:prstGeom prst="rect">
            <a:avLst/>
          </a:prstGeom>
        </p:spPr>
        <p:txBody>
          <a:bodyPr vert="horz" lIns="94064" tIns="47032" rIns="94064" bIns="47032" rtlCol="0" anchor="b"/>
          <a:lstStyle>
            <a:lvl1pPr algn="l">
              <a:defRPr sz="1200"/>
            </a:lvl1pPr>
          </a:lstStyle>
          <a:p>
            <a:endParaRPr lang="en-US" dirty="0">
              <a:latin typeface="Arial Narrow" panose="020B060602020203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4940" y="9445170"/>
            <a:ext cx="2949099" cy="497205"/>
          </a:xfrm>
          <a:prstGeom prst="rect">
            <a:avLst/>
          </a:prstGeom>
        </p:spPr>
        <p:txBody>
          <a:bodyPr vert="horz" lIns="94064" tIns="47032" rIns="94064" bIns="47032" rtlCol="0" anchor="b"/>
          <a:lstStyle>
            <a:lvl1pPr algn="r">
              <a:defRPr sz="1200"/>
            </a:lvl1pPr>
          </a:lstStyle>
          <a:p>
            <a:fld id="{44425933-59C9-4582-A8D9-570D66460C9E}" type="slidenum">
              <a:rPr lang="en-US" smtClean="0">
                <a:latin typeface="Arial Narrow" panose="020B0606020202030204" pitchFamily="34" charset="0"/>
              </a:rPr>
              <a:pPr/>
              <a:t>‹#›</a:t>
            </a:fld>
            <a:endParaRPr lang="en-US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67361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9099" cy="497205"/>
          </a:xfrm>
          <a:prstGeom prst="rect">
            <a:avLst/>
          </a:prstGeom>
        </p:spPr>
        <p:txBody>
          <a:bodyPr vert="horz" lIns="94064" tIns="47032" rIns="94064" bIns="47032" rtlCol="0"/>
          <a:lstStyle>
            <a:lvl1pPr algn="l">
              <a:defRPr sz="1200"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40" y="1"/>
            <a:ext cx="2949099" cy="497205"/>
          </a:xfrm>
          <a:prstGeom prst="rect">
            <a:avLst/>
          </a:prstGeom>
        </p:spPr>
        <p:txBody>
          <a:bodyPr vert="horz" lIns="94064" tIns="47032" rIns="94064" bIns="47032" rtlCol="0"/>
          <a:lstStyle>
            <a:lvl1pPr algn="r">
              <a:defRPr sz="1200">
                <a:latin typeface="Arial Narrow" panose="020B0606020202030204" pitchFamily="34" charset="0"/>
              </a:defRPr>
            </a:lvl1pPr>
          </a:lstStyle>
          <a:p>
            <a:fld id="{C2262F3B-5CC7-4D5E-B602-F5E0CB55D9B3}" type="datetimeFigureOut">
              <a:rPr lang="en-US" smtClean="0"/>
              <a:pPr/>
              <a:t>1/28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8900" y="744538"/>
            <a:ext cx="6627813" cy="37290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64" tIns="47032" rIns="94064" bIns="47032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23449"/>
            <a:ext cx="5444490" cy="4474845"/>
          </a:xfrm>
          <a:prstGeom prst="rect">
            <a:avLst/>
          </a:prstGeom>
        </p:spPr>
        <p:txBody>
          <a:bodyPr vert="horz" lIns="94064" tIns="47032" rIns="94064" bIns="47032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45170"/>
            <a:ext cx="2949099" cy="497205"/>
          </a:xfrm>
          <a:prstGeom prst="rect">
            <a:avLst/>
          </a:prstGeom>
        </p:spPr>
        <p:txBody>
          <a:bodyPr vert="horz" lIns="94064" tIns="47032" rIns="94064" bIns="47032" rtlCol="0" anchor="b"/>
          <a:lstStyle>
            <a:lvl1pPr algn="l">
              <a:defRPr sz="1200"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40" y="9445170"/>
            <a:ext cx="2949099" cy="497205"/>
          </a:xfrm>
          <a:prstGeom prst="rect">
            <a:avLst/>
          </a:prstGeom>
        </p:spPr>
        <p:txBody>
          <a:bodyPr vert="horz" lIns="94064" tIns="47032" rIns="94064" bIns="47032" rtlCol="0" anchor="b"/>
          <a:lstStyle>
            <a:lvl1pPr algn="r">
              <a:defRPr sz="1200">
                <a:latin typeface="Arial Narrow" panose="020B0606020202030204" pitchFamily="34" charset="0"/>
              </a:defRPr>
            </a:lvl1pPr>
          </a:lstStyle>
          <a:p>
            <a:fld id="{830233AA-EDD9-4D1C-B66A-95A21E602A8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57921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79130" rtl="0" eaLnBrk="1" latinLnBrk="0" hangingPunct="1">
      <a:defRPr sz="1200" kern="1200">
        <a:solidFill>
          <a:schemeClr val="tx1"/>
        </a:solidFill>
        <a:latin typeface="Arial Narrow" panose="020B0606020202030204" pitchFamily="34" charset="0"/>
        <a:ea typeface="+mn-ea"/>
        <a:cs typeface="+mn-cs"/>
      </a:defRPr>
    </a:lvl1pPr>
    <a:lvl2pPr marL="439565" algn="l" defTabSz="879130" rtl="0" eaLnBrk="1" latinLnBrk="0" hangingPunct="1">
      <a:defRPr sz="1200" kern="1200">
        <a:solidFill>
          <a:schemeClr val="tx1"/>
        </a:solidFill>
        <a:latin typeface="Arial Narrow" panose="020B0606020202030204" pitchFamily="34" charset="0"/>
        <a:ea typeface="+mn-ea"/>
        <a:cs typeface="+mn-cs"/>
      </a:defRPr>
    </a:lvl2pPr>
    <a:lvl3pPr marL="879130" algn="l" defTabSz="879130" rtl="0" eaLnBrk="1" latinLnBrk="0" hangingPunct="1">
      <a:defRPr sz="1200" kern="1200">
        <a:solidFill>
          <a:schemeClr val="tx1"/>
        </a:solidFill>
        <a:latin typeface="Arial Narrow" panose="020B0606020202030204" pitchFamily="34" charset="0"/>
        <a:ea typeface="+mn-ea"/>
        <a:cs typeface="+mn-cs"/>
      </a:defRPr>
    </a:lvl3pPr>
    <a:lvl4pPr marL="1318695" algn="l" defTabSz="879130" rtl="0" eaLnBrk="1" latinLnBrk="0" hangingPunct="1">
      <a:defRPr sz="1200" kern="1200">
        <a:solidFill>
          <a:schemeClr val="tx1"/>
        </a:solidFill>
        <a:latin typeface="Arial Narrow" panose="020B0606020202030204" pitchFamily="34" charset="0"/>
        <a:ea typeface="+mn-ea"/>
        <a:cs typeface="+mn-cs"/>
      </a:defRPr>
    </a:lvl4pPr>
    <a:lvl5pPr marL="1758259" algn="l" defTabSz="879130" rtl="0" eaLnBrk="1" latinLnBrk="0" hangingPunct="1">
      <a:defRPr sz="1200" kern="1200">
        <a:solidFill>
          <a:schemeClr val="tx1"/>
        </a:solidFill>
        <a:latin typeface="Arial Narrow" panose="020B0606020202030204" pitchFamily="34" charset="0"/>
        <a:ea typeface="+mn-ea"/>
        <a:cs typeface="+mn-cs"/>
      </a:defRPr>
    </a:lvl5pPr>
    <a:lvl6pPr marL="2197824" algn="l" defTabSz="8791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637389" algn="l" defTabSz="8791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076954" algn="l" defTabSz="8791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516519" algn="l" defTabSz="8791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0233AA-EDD9-4D1C-B66A-95A21E602A8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82670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0233AA-EDD9-4D1C-B66A-95A21E602A8F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66551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0233AA-EDD9-4D1C-B66A-95A21E602A8F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04534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svg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hyperlink" Target="http://facebook.com/DassaultSystemes/" TargetMode="External"/><Relationship Id="rId13" Type="http://schemas.openxmlformats.org/officeDocument/2006/relationships/image" Target="../media/image21.svg"/><Relationship Id="rId18" Type="http://schemas.openxmlformats.org/officeDocument/2006/relationships/image" Target="../media/image8.svg"/><Relationship Id="rId3" Type="http://schemas.openxmlformats.org/officeDocument/2006/relationships/image" Target="../media/image10.png"/><Relationship Id="rId7" Type="http://schemas.openxmlformats.org/officeDocument/2006/relationships/image" Target="../media/image17.svg"/><Relationship Id="rId12" Type="http://schemas.openxmlformats.org/officeDocument/2006/relationships/image" Target="../media/image13.png"/><Relationship Id="rId17" Type="http://schemas.openxmlformats.org/officeDocument/2006/relationships/image" Target="../media/image6.png"/><Relationship Id="rId2" Type="http://schemas.openxmlformats.org/officeDocument/2006/relationships/hyperlink" Target="https://fr.linkedin.com/company/dassaultsystemes" TargetMode="External"/><Relationship Id="rId16" Type="http://schemas.openxmlformats.org/officeDocument/2006/relationships/image" Target="../media/image23.sv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11" Type="http://schemas.openxmlformats.org/officeDocument/2006/relationships/hyperlink" Target="https://www.instagram.com/dassaultsystemes" TargetMode="External"/><Relationship Id="rId5" Type="http://schemas.openxmlformats.org/officeDocument/2006/relationships/hyperlink" Target="https://www.youtube.com/dassaultsystemes" TargetMode="External"/><Relationship Id="rId15" Type="http://schemas.openxmlformats.org/officeDocument/2006/relationships/image" Target="../media/image14.png"/><Relationship Id="rId10" Type="http://schemas.openxmlformats.org/officeDocument/2006/relationships/image" Target="../media/image19.svg"/><Relationship Id="rId19" Type="http://schemas.openxmlformats.org/officeDocument/2006/relationships/hyperlink" Target="https://twitter.com/dassault3ds" TargetMode="External"/><Relationship Id="rId4" Type="http://schemas.openxmlformats.org/officeDocument/2006/relationships/image" Target="../media/image15.svg"/><Relationship Id="rId9" Type="http://schemas.openxmlformats.org/officeDocument/2006/relationships/image" Target="../media/image12.png"/><Relationship Id="rId14" Type="http://schemas.openxmlformats.org/officeDocument/2006/relationships/hyperlink" Target="https://www.tiktok.com/@dassaultsystemes" TargetMode="Externa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llipse 3">
            <a:extLst>
              <a:ext uri="{FF2B5EF4-FFF2-40B4-BE49-F238E27FC236}">
                <a16:creationId xmlns:a16="http://schemas.microsoft.com/office/drawing/2014/main" id="{60099115-1B33-C695-80D9-CBE37AD90056}"/>
              </a:ext>
            </a:extLst>
          </p:cNvPr>
          <p:cNvSpPr/>
          <p:nvPr/>
        </p:nvSpPr>
        <p:spPr>
          <a:xfrm rot="18656103">
            <a:off x="4347605" y="1320545"/>
            <a:ext cx="3207657" cy="3173759"/>
          </a:xfrm>
          <a:custGeom>
            <a:avLst/>
            <a:gdLst>
              <a:gd name="connsiteX0" fmla="*/ 0 w 6415314"/>
              <a:gd name="connsiteY0" fmla="*/ 3173759 h 6347517"/>
              <a:gd name="connsiteX1" fmla="*/ 3207657 w 6415314"/>
              <a:gd name="connsiteY1" fmla="*/ 0 h 6347517"/>
              <a:gd name="connsiteX2" fmla="*/ 6415314 w 6415314"/>
              <a:gd name="connsiteY2" fmla="*/ 3173759 h 6347517"/>
              <a:gd name="connsiteX3" fmla="*/ 3207657 w 6415314"/>
              <a:gd name="connsiteY3" fmla="*/ 6347518 h 6347517"/>
              <a:gd name="connsiteX4" fmla="*/ 0 w 6415314"/>
              <a:gd name="connsiteY4" fmla="*/ 3173759 h 6347517"/>
              <a:gd name="connsiteX0" fmla="*/ 6415314 w 6506754"/>
              <a:gd name="connsiteY0" fmla="*/ 3173759 h 6347518"/>
              <a:gd name="connsiteX1" fmla="*/ 3207657 w 6506754"/>
              <a:gd name="connsiteY1" fmla="*/ 6347518 h 6347518"/>
              <a:gd name="connsiteX2" fmla="*/ 0 w 6506754"/>
              <a:gd name="connsiteY2" fmla="*/ 3173759 h 6347518"/>
              <a:gd name="connsiteX3" fmla="*/ 3207657 w 6506754"/>
              <a:gd name="connsiteY3" fmla="*/ 0 h 6347518"/>
              <a:gd name="connsiteX4" fmla="*/ 6506754 w 6506754"/>
              <a:gd name="connsiteY4" fmla="*/ 3265199 h 6347518"/>
              <a:gd name="connsiteX0" fmla="*/ 3207657 w 6506754"/>
              <a:gd name="connsiteY0" fmla="*/ 6347518 h 6347518"/>
              <a:gd name="connsiteX1" fmla="*/ 0 w 6506754"/>
              <a:gd name="connsiteY1" fmla="*/ 3173759 h 6347518"/>
              <a:gd name="connsiteX2" fmla="*/ 3207657 w 6506754"/>
              <a:gd name="connsiteY2" fmla="*/ 0 h 6347518"/>
              <a:gd name="connsiteX3" fmla="*/ 6506754 w 6506754"/>
              <a:gd name="connsiteY3" fmla="*/ 3265199 h 6347518"/>
              <a:gd name="connsiteX0" fmla="*/ 0 w 6506754"/>
              <a:gd name="connsiteY0" fmla="*/ 3173759 h 3265199"/>
              <a:gd name="connsiteX1" fmla="*/ 3207657 w 6506754"/>
              <a:gd name="connsiteY1" fmla="*/ 0 h 3265199"/>
              <a:gd name="connsiteX2" fmla="*/ 6506754 w 6506754"/>
              <a:gd name="connsiteY2" fmla="*/ 3265199 h 3265199"/>
              <a:gd name="connsiteX0" fmla="*/ 0 w 3207657"/>
              <a:gd name="connsiteY0" fmla="*/ 3173759 h 3173759"/>
              <a:gd name="connsiteX1" fmla="*/ 3207657 w 3207657"/>
              <a:gd name="connsiteY1" fmla="*/ 0 h 31737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207657" h="3173759">
                <a:moveTo>
                  <a:pt x="0" y="3173759"/>
                </a:moveTo>
                <a:cubicBezTo>
                  <a:pt x="0" y="1420940"/>
                  <a:pt x="1436117" y="0"/>
                  <a:pt x="3207657" y="0"/>
                </a:cubicBezTo>
              </a:path>
            </a:pathLst>
          </a:cu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67"/>
          </a:p>
        </p:txBody>
      </p:sp>
      <p:sp>
        <p:nvSpPr>
          <p:cNvPr id="3" name="Ellipse 4">
            <a:extLst>
              <a:ext uri="{FF2B5EF4-FFF2-40B4-BE49-F238E27FC236}">
                <a16:creationId xmlns:a16="http://schemas.microsoft.com/office/drawing/2014/main" id="{677AEE10-83F0-BADB-A6C1-608E209195C6}"/>
              </a:ext>
            </a:extLst>
          </p:cNvPr>
          <p:cNvSpPr/>
          <p:nvPr/>
        </p:nvSpPr>
        <p:spPr>
          <a:xfrm rot="2613241">
            <a:off x="3996758" y="957338"/>
            <a:ext cx="3987981" cy="3061309"/>
          </a:xfrm>
          <a:custGeom>
            <a:avLst/>
            <a:gdLst>
              <a:gd name="connsiteX0" fmla="*/ 0 w 6415314"/>
              <a:gd name="connsiteY0" fmla="*/ 3173400 h 6346800"/>
              <a:gd name="connsiteX1" fmla="*/ 3207657 w 6415314"/>
              <a:gd name="connsiteY1" fmla="*/ 0 h 6346800"/>
              <a:gd name="connsiteX2" fmla="*/ 6415314 w 6415314"/>
              <a:gd name="connsiteY2" fmla="*/ 3173400 h 6346800"/>
              <a:gd name="connsiteX3" fmla="*/ 3207657 w 6415314"/>
              <a:gd name="connsiteY3" fmla="*/ 6346800 h 6346800"/>
              <a:gd name="connsiteX4" fmla="*/ 0 w 6415314"/>
              <a:gd name="connsiteY4" fmla="*/ 3173400 h 6346800"/>
              <a:gd name="connsiteX0" fmla="*/ 0 w 6504479"/>
              <a:gd name="connsiteY0" fmla="*/ 396675 h 3570075"/>
              <a:gd name="connsiteX1" fmla="*/ 6415314 w 6504479"/>
              <a:gd name="connsiteY1" fmla="*/ 396675 h 3570075"/>
              <a:gd name="connsiteX2" fmla="*/ 3207657 w 6504479"/>
              <a:gd name="connsiteY2" fmla="*/ 3570075 h 3570075"/>
              <a:gd name="connsiteX3" fmla="*/ 0 w 6504479"/>
              <a:gd name="connsiteY3" fmla="*/ 396675 h 3570075"/>
              <a:gd name="connsiteX0" fmla="*/ 0 w 3207657"/>
              <a:gd name="connsiteY0" fmla="*/ 0 h 3173400"/>
              <a:gd name="connsiteX1" fmla="*/ 3207657 w 3207657"/>
              <a:gd name="connsiteY1" fmla="*/ 3173400 h 3173400"/>
              <a:gd name="connsiteX2" fmla="*/ 0 w 3207657"/>
              <a:gd name="connsiteY2" fmla="*/ 0 h 3173400"/>
              <a:gd name="connsiteX0" fmla="*/ 0 w 3207657"/>
              <a:gd name="connsiteY0" fmla="*/ 0 h 3173400"/>
              <a:gd name="connsiteX1" fmla="*/ 3207657 w 3207657"/>
              <a:gd name="connsiteY1" fmla="*/ 3173400 h 3173400"/>
              <a:gd name="connsiteX2" fmla="*/ 91440 w 3207657"/>
              <a:gd name="connsiteY2" fmla="*/ 91440 h 3173400"/>
              <a:gd name="connsiteX0" fmla="*/ 2073350 w 3187498"/>
              <a:gd name="connsiteY0" fmla="*/ 0 h 3440456"/>
              <a:gd name="connsiteX1" fmla="*/ 3118361 w 3187498"/>
              <a:gd name="connsiteY1" fmla="*/ 3438724 h 3440456"/>
              <a:gd name="connsiteX2" fmla="*/ 2144 w 3187498"/>
              <a:gd name="connsiteY2" fmla="*/ 356764 h 3440456"/>
              <a:gd name="connsiteX0" fmla="*/ 3118361 w 3118361"/>
              <a:gd name="connsiteY0" fmla="*/ 3081960 h 3083692"/>
              <a:gd name="connsiteX1" fmla="*/ 2144 w 3118361"/>
              <a:gd name="connsiteY1" fmla="*/ 0 h 3083692"/>
              <a:gd name="connsiteX0" fmla="*/ 3116217 w 3116217"/>
              <a:gd name="connsiteY0" fmla="*/ 3081960 h 3089648"/>
              <a:gd name="connsiteX1" fmla="*/ 0 w 3116217"/>
              <a:gd name="connsiteY1" fmla="*/ 0 h 3089648"/>
              <a:gd name="connsiteX0" fmla="*/ 3116217 w 3116217"/>
              <a:gd name="connsiteY0" fmla="*/ 3081960 h 3093774"/>
              <a:gd name="connsiteX1" fmla="*/ 0 w 3116217"/>
              <a:gd name="connsiteY1" fmla="*/ 0 h 3093774"/>
              <a:gd name="connsiteX0" fmla="*/ 3894995 w 3894995"/>
              <a:gd name="connsiteY0" fmla="*/ 3087709 h 3099330"/>
              <a:gd name="connsiteX1" fmla="*/ 0 w 3894995"/>
              <a:gd name="connsiteY1" fmla="*/ 0 h 3099330"/>
              <a:gd name="connsiteX0" fmla="*/ 3894995 w 3894995"/>
              <a:gd name="connsiteY0" fmla="*/ 3087709 h 3252616"/>
              <a:gd name="connsiteX1" fmla="*/ 0 w 3894995"/>
              <a:gd name="connsiteY1" fmla="*/ 0 h 3252616"/>
              <a:gd name="connsiteX0" fmla="*/ 3894995 w 3894995"/>
              <a:gd name="connsiteY0" fmla="*/ 3087709 h 3258173"/>
              <a:gd name="connsiteX1" fmla="*/ 0 w 3894995"/>
              <a:gd name="connsiteY1" fmla="*/ 0 h 3258173"/>
              <a:gd name="connsiteX0" fmla="*/ 3894995 w 3894995"/>
              <a:gd name="connsiteY0" fmla="*/ 3087709 h 3148707"/>
              <a:gd name="connsiteX1" fmla="*/ 0 w 3894995"/>
              <a:gd name="connsiteY1" fmla="*/ 0 h 3148707"/>
              <a:gd name="connsiteX0" fmla="*/ 3894995 w 3894995"/>
              <a:gd name="connsiteY0" fmla="*/ 3087709 h 3171516"/>
              <a:gd name="connsiteX1" fmla="*/ 0 w 3894995"/>
              <a:gd name="connsiteY1" fmla="*/ 0 h 3171516"/>
              <a:gd name="connsiteX0" fmla="*/ 3894995 w 3894995"/>
              <a:gd name="connsiteY0" fmla="*/ 3087709 h 3174264"/>
              <a:gd name="connsiteX1" fmla="*/ 0 w 3894995"/>
              <a:gd name="connsiteY1" fmla="*/ 0 h 3174264"/>
              <a:gd name="connsiteX0" fmla="*/ 3894995 w 3894995"/>
              <a:gd name="connsiteY0" fmla="*/ 3087709 h 3156052"/>
              <a:gd name="connsiteX1" fmla="*/ 0 w 3894995"/>
              <a:gd name="connsiteY1" fmla="*/ 0 h 3156052"/>
              <a:gd name="connsiteX0" fmla="*/ 3987981 w 3987981"/>
              <a:gd name="connsiteY0" fmla="*/ 2985737 h 3061309"/>
              <a:gd name="connsiteX1" fmla="*/ 0 w 3987981"/>
              <a:gd name="connsiteY1" fmla="*/ 0 h 3061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987981" h="3061309">
                <a:moveTo>
                  <a:pt x="3987981" y="2985737"/>
                </a:moveTo>
                <a:cubicBezTo>
                  <a:pt x="2698358" y="3264771"/>
                  <a:pt x="427278" y="2877433"/>
                  <a:pt x="0" y="0"/>
                </a:cubicBezTo>
              </a:path>
            </a:pathLst>
          </a:cu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67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9024B56-550E-0D0D-871B-5F9D0F35C319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2492" y="3738213"/>
            <a:ext cx="792000" cy="931764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74AF9478-089A-9478-F078-A0C78A14F1B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8914" y="470684"/>
            <a:ext cx="1826248" cy="558017"/>
          </a:xfrm>
          <a:prstGeom prst="rect">
            <a:avLst/>
          </a:prstGeom>
        </p:spPr>
      </p:pic>
      <p:sp>
        <p:nvSpPr>
          <p:cNvPr id="14" name="Titre 1">
            <a:extLst>
              <a:ext uri="{FF2B5EF4-FFF2-40B4-BE49-F238E27FC236}">
                <a16:creationId xmlns:a16="http://schemas.microsoft.com/office/drawing/2014/main" id="{CFABFB0F-3B61-4CF2-9A67-DB91C118E5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2492" y="2067322"/>
            <a:ext cx="4131000" cy="664798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defRPr lang="en-US" sz="2400" b="1" i="0" kern="1200" cap="all" spc="0" baseline="0" noProof="0" dirty="0" smtClean="0">
                <a:solidFill>
                  <a:schemeClr val="tx1"/>
                </a:solidFill>
                <a:effectLst/>
                <a:latin typeface="3DS V2" pitchFamily="2" charset="0"/>
                <a:ea typeface="+mj-ea"/>
                <a:cs typeface="3DS V2" pitchFamily="2" charset="0"/>
              </a:defRPr>
            </a:lvl1pPr>
          </a:lstStyle>
          <a:p>
            <a:r>
              <a:rPr lang="en-US" noProof="0" dirty="0"/>
              <a:t>THIS IS THE TITLE OF THE PRESENTATIO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313F780-5FBD-452C-9BD8-D1D33E0EC8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2492" y="2845346"/>
            <a:ext cx="4131000" cy="2308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kern="900" spc="0" baseline="0">
                <a:solidFill>
                  <a:schemeClr val="tx1"/>
                </a:solidFill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is is the sub-title of the presentation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943FABAB-1AFD-4844-BAE6-84AA1AFCD20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114926" y="2"/>
            <a:ext cx="4029074" cy="5143499"/>
          </a:xfrm>
          <a:custGeom>
            <a:avLst/>
            <a:gdLst>
              <a:gd name="connsiteX0" fmla="*/ 1238998 w 4029074"/>
              <a:gd name="connsiteY0" fmla="*/ 0 h 5143499"/>
              <a:gd name="connsiteX1" fmla="*/ 4029074 w 4029074"/>
              <a:gd name="connsiteY1" fmla="*/ 0 h 5143499"/>
              <a:gd name="connsiteX2" fmla="*/ 4029074 w 4029074"/>
              <a:gd name="connsiteY2" fmla="*/ 842036 h 5143499"/>
              <a:gd name="connsiteX3" fmla="*/ 4029074 w 4029074"/>
              <a:gd name="connsiteY3" fmla="*/ 1941749 h 5143499"/>
              <a:gd name="connsiteX4" fmla="*/ 4029074 w 4029074"/>
              <a:gd name="connsiteY4" fmla="*/ 3201749 h 5143499"/>
              <a:gd name="connsiteX5" fmla="*/ 4029074 w 4029074"/>
              <a:gd name="connsiteY5" fmla="*/ 3743118 h 5143499"/>
              <a:gd name="connsiteX6" fmla="*/ 4029074 w 4029074"/>
              <a:gd name="connsiteY6" fmla="*/ 5143499 h 5143499"/>
              <a:gd name="connsiteX7" fmla="*/ 1238998 w 4029074"/>
              <a:gd name="connsiteY7" fmla="*/ 5143499 h 5143499"/>
              <a:gd name="connsiteX8" fmla="*/ 1223084 w 4029074"/>
              <a:gd name="connsiteY8" fmla="*/ 5130964 h 5143499"/>
              <a:gd name="connsiteX9" fmla="*/ 0 w 4029074"/>
              <a:gd name="connsiteY9" fmla="*/ 2571750 h 5143499"/>
              <a:gd name="connsiteX10" fmla="*/ 1223083 w 4029074"/>
              <a:gd name="connsiteY10" fmla="*/ 12537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029074" h="5143499">
                <a:moveTo>
                  <a:pt x="1238998" y="0"/>
                </a:moveTo>
                <a:lnTo>
                  <a:pt x="4029074" y="0"/>
                </a:lnTo>
                <a:lnTo>
                  <a:pt x="4029074" y="842036"/>
                </a:lnTo>
                <a:lnTo>
                  <a:pt x="4029074" y="1941749"/>
                </a:lnTo>
                <a:lnTo>
                  <a:pt x="4029074" y="3201749"/>
                </a:lnTo>
                <a:lnTo>
                  <a:pt x="4029074" y="3743118"/>
                </a:lnTo>
                <a:lnTo>
                  <a:pt x="4029074" y="5143499"/>
                </a:lnTo>
                <a:lnTo>
                  <a:pt x="1238998" y="5143499"/>
                </a:lnTo>
                <a:lnTo>
                  <a:pt x="1223084" y="5130964"/>
                </a:lnTo>
                <a:cubicBezTo>
                  <a:pt x="467400" y="4476004"/>
                  <a:pt x="0" y="3571185"/>
                  <a:pt x="0" y="2571750"/>
                </a:cubicBezTo>
                <a:cubicBezTo>
                  <a:pt x="0" y="1572315"/>
                  <a:pt x="467400" y="667497"/>
                  <a:pt x="1223083" y="12537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defTabSz="914378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lang="vi-VN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 dirty="0"/>
              <a:t>Insert image</a:t>
            </a:r>
          </a:p>
        </p:txBody>
      </p:sp>
      <p:cxnSp>
        <p:nvCxnSpPr>
          <p:cNvPr id="20" name="Connecteur droit 8">
            <a:extLst>
              <a:ext uri="{FF2B5EF4-FFF2-40B4-BE49-F238E27FC236}">
                <a16:creationId xmlns:a16="http://schemas.microsoft.com/office/drawing/2014/main" id="{82A6B2F8-AE5B-4F00-8021-7680F4786DF2}"/>
              </a:ext>
            </a:extLst>
          </p:cNvPr>
          <p:cNvCxnSpPr>
            <a:cxnSpLocks/>
          </p:cNvCxnSpPr>
          <p:nvPr/>
        </p:nvCxnSpPr>
        <p:spPr>
          <a:xfrm>
            <a:off x="177217" y="321750"/>
            <a:ext cx="0" cy="45000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12">
            <a:extLst>
              <a:ext uri="{FF2B5EF4-FFF2-40B4-BE49-F238E27FC236}">
                <a16:creationId xmlns:a16="http://schemas.microsoft.com/office/drawing/2014/main" id="{0E755492-88AC-D7B1-D9EC-12C9E466DB26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</p:spTree>
    <p:extLst>
      <p:ext uri="{BB962C8B-B14F-4D97-AF65-F5344CB8AC3E}">
        <p14:creationId xmlns:p14="http://schemas.microsoft.com/office/powerpoint/2010/main" val="34331275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- 1 line title V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7DDF75E6-2FA4-45BC-9D0C-27E2370C919F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2906" y="1129554"/>
            <a:ext cx="3998586" cy="3945366"/>
          </a:xfrm>
          <a:custGeom>
            <a:avLst/>
            <a:gdLst>
              <a:gd name="connsiteX0" fmla="*/ 0 w 5497636"/>
              <a:gd name="connsiteY0" fmla="*/ 0 h 3442447"/>
              <a:gd name="connsiteX1" fmla="*/ 5497636 w 5497636"/>
              <a:gd name="connsiteY1" fmla="*/ 0 h 3442447"/>
              <a:gd name="connsiteX2" fmla="*/ 5497636 w 5497636"/>
              <a:gd name="connsiteY2" fmla="*/ 3442447 h 3442447"/>
              <a:gd name="connsiteX3" fmla="*/ 0 w 5497636"/>
              <a:gd name="connsiteY3" fmla="*/ 3442447 h 3442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97636" h="3442447">
                <a:moveTo>
                  <a:pt x="0" y="0"/>
                </a:moveTo>
                <a:lnTo>
                  <a:pt x="5497636" y="0"/>
                </a:lnTo>
                <a:lnTo>
                  <a:pt x="5497636" y="3442447"/>
                </a:lnTo>
                <a:lnTo>
                  <a:pt x="0" y="3442447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>
            <a:lvl1pPr marL="172796" indent="-172796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200"/>
            </a:lvl1pPr>
            <a:lvl2pPr marL="345591" marR="0" indent="-17279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Arial Narrow" panose="020B0606020202030204" pitchFamily="34" charset="0"/>
              <a:buChar char="-"/>
              <a:tabLst/>
              <a:defRPr sz="1100"/>
            </a:lvl2pPr>
            <a:lvl3pPr marL="518387" indent="-172796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Char char="▪"/>
              <a:defRPr sz="1000"/>
            </a:lvl3pPr>
            <a:lvl4pPr marL="691183" indent="-17279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800"/>
            </a:lvl4pPr>
          </a:lstStyle>
          <a:p>
            <a:pPr lvl="0"/>
            <a:r>
              <a:rPr lang="en-US" dirty="0" smtClean="0"/>
              <a:t>User Query:</a:t>
            </a:r>
          </a:p>
          <a:p>
            <a:pPr lvl="1"/>
            <a:r>
              <a:rPr lang="en-US" dirty="0" smtClean="0"/>
              <a:t>The user initiates a query, providing input to the system.</a:t>
            </a:r>
          </a:p>
          <a:p>
            <a:pPr lvl="0"/>
            <a:r>
              <a:rPr lang="en-US" dirty="0" smtClean="0"/>
              <a:t>Step 1 &amp; 2:</a:t>
            </a:r>
          </a:p>
          <a:p>
            <a:pPr lvl="1"/>
            <a:r>
              <a:rPr lang="en-US" dirty="0" smtClean="0"/>
              <a:t>The </a:t>
            </a:r>
            <a:r>
              <a:rPr lang="en-US" b="1" dirty="0" smtClean="0"/>
              <a:t>orchestrator</a:t>
            </a:r>
            <a:r>
              <a:rPr lang="en-US" dirty="0" smtClean="0"/>
              <a:t> receives the query and logs it into the database for persistence and future reference.</a:t>
            </a:r>
          </a:p>
          <a:p>
            <a:pPr lvl="0"/>
            <a:r>
              <a:rPr lang="en-US" dirty="0" smtClean="0"/>
              <a:t>Step 3:</a:t>
            </a:r>
          </a:p>
          <a:p>
            <a:pPr marL="345591" marR="0" lvl="1" indent="-17279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Arial Narrow" panose="020B0606020202030204" pitchFamily="34" charset="0"/>
              <a:buChar char="-"/>
              <a:tabLst/>
              <a:defRPr/>
            </a:pPr>
            <a:r>
              <a:rPr lang="en-US" dirty="0" smtClean="0"/>
              <a:t>The orchestrator retrieves and computes the </a:t>
            </a:r>
            <a:r>
              <a:rPr lang="en-US" b="1" dirty="0" smtClean="0"/>
              <a:t>context</a:t>
            </a:r>
            <a:r>
              <a:rPr lang="en-US" dirty="0" smtClean="0"/>
              <a:t> for the query using:</a:t>
            </a:r>
          </a:p>
          <a:p>
            <a:pPr lvl="2"/>
            <a:r>
              <a:rPr lang="en-US" dirty="0" smtClean="0"/>
              <a:t>The </a:t>
            </a:r>
            <a:r>
              <a:rPr lang="en-US" b="1" dirty="0" smtClean="0"/>
              <a:t>current app state (Core Memory)</a:t>
            </a:r>
            <a:r>
              <a:rPr lang="en-US" dirty="0" smtClean="0"/>
              <a:t>.</a:t>
            </a:r>
          </a:p>
          <a:p>
            <a:pPr lvl="2"/>
            <a:r>
              <a:rPr lang="en-US" dirty="0" smtClean="0"/>
              <a:t>Historical references from </a:t>
            </a:r>
            <a:r>
              <a:rPr lang="en-US" b="1" dirty="0" smtClean="0"/>
              <a:t>Recall Memory</a:t>
            </a:r>
            <a:r>
              <a:rPr lang="en-US" dirty="0" smtClean="0"/>
              <a:t>.</a:t>
            </a:r>
          </a:p>
          <a:p>
            <a:pPr lvl="1"/>
            <a:r>
              <a:rPr lang="en-US" dirty="0" smtClean="0"/>
              <a:t>Context computation ensures that the LLM receives both current and relevant historical data.</a:t>
            </a:r>
          </a:p>
          <a:p>
            <a:pPr lvl="0"/>
            <a:r>
              <a:rPr lang="en-US" dirty="0" smtClean="0"/>
              <a:t>Step 4:</a:t>
            </a:r>
          </a:p>
          <a:p>
            <a:pPr lvl="1"/>
            <a:r>
              <a:rPr lang="en-US" dirty="0" smtClean="0"/>
              <a:t>The orchestrator sends the query along with the computed context to the </a:t>
            </a:r>
            <a:r>
              <a:rPr lang="en-US" b="1" dirty="0" smtClean="0"/>
              <a:t>LLM</a:t>
            </a:r>
            <a:r>
              <a:rPr lang="en-US" dirty="0" smtClean="0"/>
              <a:t>.</a:t>
            </a:r>
          </a:p>
          <a:p>
            <a:pPr lvl="0"/>
            <a:r>
              <a:rPr lang="en-US" noProof="0" dirty="0" smtClean="0"/>
              <a:t>Step 5:</a:t>
            </a:r>
          </a:p>
          <a:p>
            <a:pPr lvl="1"/>
            <a:r>
              <a:rPr lang="en-US" dirty="0" smtClean="0"/>
              <a:t>The LLM processes the information and provides a response.</a:t>
            </a:r>
          </a:p>
          <a:p>
            <a:pPr lvl="0"/>
            <a:r>
              <a:rPr lang="en-US" dirty="0" smtClean="0"/>
              <a:t>Step 6:</a:t>
            </a:r>
          </a:p>
          <a:p>
            <a:pPr lvl="1"/>
            <a:r>
              <a:rPr lang="en-US" dirty="0" smtClean="0"/>
              <a:t>The orchestrator:</a:t>
            </a:r>
          </a:p>
          <a:p>
            <a:pPr lvl="2"/>
            <a:r>
              <a:rPr lang="en-US" dirty="0" smtClean="0"/>
              <a:t>Updates the </a:t>
            </a:r>
            <a:r>
              <a:rPr lang="en-US" b="1" dirty="0" smtClean="0"/>
              <a:t>database</a:t>
            </a:r>
            <a:r>
              <a:rPr lang="en-US" dirty="0" smtClean="0"/>
              <a:t> (to reflect new changes).</a:t>
            </a:r>
          </a:p>
          <a:p>
            <a:pPr lvl="2"/>
            <a:r>
              <a:rPr lang="en-US" dirty="0" smtClean="0"/>
              <a:t>Sends the </a:t>
            </a:r>
            <a:r>
              <a:rPr lang="en-US" b="1" dirty="0" smtClean="0"/>
              <a:t>response back to the user</a:t>
            </a:r>
            <a:r>
              <a:rPr lang="en-US" dirty="0" smtClean="0"/>
              <a:t>.</a:t>
            </a:r>
          </a:p>
          <a:p>
            <a:pPr lvl="2"/>
            <a:endParaRPr lang="en-US" noProof="0" dirty="0"/>
          </a:p>
        </p:txBody>
      </p:sp>
      <p:sp>
        <p:nvSpPr>
          <p:cNvPr id="11" name="ZoneTexte 7">
            <a:extLst>
              <a:ext uri="{FF2B5EF4-FFF2-40B4-BE49-F238E27FC236}">
                <a16:creationId xmlns:a16="http://schemas.microsoft.com/office/drawing/2014/main" id="{D5E28100-23B4-0C41-9F0D-D979777516FC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7DFB9808-374D-4A9D-8F58-FD27E9969A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905" y="630182"/>
            <a:ext cx="8378826" cy="2308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kern="900" spc="0" baseline="0">
                <a:solidFill>
                  <a:schemeClr val="tx1"/>
                </a:solidFill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is is the slide subtitle</a:t>
            </a:r>
          </a:p>
        </p:txBody>
      </p:sp>
      <p:cxnSp>
        <p:nvCxnSpPr>
          <p:cNvPr id="12" name="Connecteur droit 8">
            <a:extLst>
              <a:ext uri="{FF2B5EF4-FFF2-40B4-BE49-F238E27FC236}">
                <a16:creationId xmlns:a16="http://schemas.microsoft.com/office/drawing/2014/main" id="{DF97314C-3489-4C47-BC83-C45A78C87D18}"/>
              </a:ext>
            </a:extLst>
          </p:cNvPr>
          <p:cNvCxnSpPr>
            <a:cxnSpLocks/>
          </p:cNvCxnSpPr>
          <p:nvPr/>
        </p:nvCxnSpPr>
        <p:spPr>
          <a:xfrm>
            <a:off x="177217" y="321750"/>
            <a:ext cx="0" cy="45000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Graphic 16">
            <a:extLst>
              <a:ext uri="{FF2B5EF4-FFF2-40B4-BE49-F238E27FC236}">
                <a16:creationId xmlns:a16="http://schemas.microsoft.com/office/drawing/2014/main" id="{59E770E7-D76C-413C-A66C-7411A35CE1B6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01468" y="4691064"/>
            <a:ext cx="908368" cy="277597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4E9C4E1D-6591-28A8-E40F-B5D82CEFB8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937" y="312223"/>
            <a:ext cx="8378155" cy="32316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100000"/>
              </a:lnSpc>
              <a:defRPr lang="en-US" sz="2000" b="0" i="0" strike="noStrike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dirty="0" smtClean="0"/>
              <a:t>Flow of Operations</a:t>
            </a:r>
            <a:endParaRPr lang="en-US" noProof="0" dirty="0"/>
          </a:p>
        </p:txBody>
      </p:sp>
      <p:sp>
        <p:nvSpPr>
          <p:cNvPr id="5" name="Picture Placeholder 13">
            <a:extLst>
              <a:ext uri="{FF2B5EF4-FFF2-40B4-BE49-F238E27FC236}">
                <a16:creationId xmlns:a16="http://schemas.microsoft.com/office/drawing/2014/main" id="{2F6C6833-84A7-8441-A037-539DAAF1361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762499" y="1129554"/>
            <a:ext cx="3998596" cy="3090737"/>
          </a:xfrm>
          <a:prstGeom prst="roundRect">
            <a:avLst>
              <a:gd name="adj" fmla="val 2294"/>
            </a:avLst>
          </a:prstGeom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noProof="0" dirty="0"/>
              <a:t>Insert image</a:t>
            </a:r>
          </a:p>
        </p:txBody>
      </p:sp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0D3F2D9A-E96A-D6C2-9079-930A9A1DE2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62499" y="4341168"/>
            <a:ext cx="3998596" cy="2308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b="1" i="0" kern="900" cap="all" spc="0" baseline="0">
                <a:solidFill>
                  <a:schemeClr val="accent1"/>
                </a:solidFill>
                <a:latin typeface="3DS V2 SemiBold" pitchFamily="2" charset="0"/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pic>
        <p:nvPicPr>
          <p:cNvPr id="7" name="Image 10">
            <a:extLst>
              <a:ext uri="{FF2B5EF4-FFF2-40B4-BE49-F238E27FC236}">
                <a16:creationId xmlns:a16="http://schemas.microsoft.com/office/drawing/2014/main" id="{1FA789E8-5429-113C-A961-3BC8C6FC1545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9" name="Footer Placeholder 12">
            <a:extLst>
              <a:ext uri="{FF2B5EF4-FFF2-40B4-BE49-F238E27FC236}">
                <a16:creationId xmlns:a16="http://schemas.microsoft.com/office/drawing/2014/main" id="{BCE4B54A-F8AC-B604-FEF6-C41040875034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</p:spTree>
    <p:extLst>
      <p:ext uri="{BB962C8B-B14F-4D97-AF65-F5344CB8AC3E}">
        <p14:creationId xmlns:p14="http://schemas.microsoft.com/office/powerpoint/2010/main" val="10848493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- 2 lines title V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DCC0A36F-4386-43D8-9878-1990319145E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2907" y="1525675"/>
            <a:ext cx="5619003" cy="3046326"/>
          </a:xfrm>
          <a:custGeom>
            <a:avLst/>
            <a:gdLst>
              <a:gd name="connsiteX0" fmla="*/ 0 w 5619003"/>
              <a:gd name="connsiteY0" fmla="*/ 0 h 3046326"/>
              <a:gd name="connsiteX1" fmla="*/ 5619003 w 5619003"/>
              <a:gd name="connsiteY1" fmla="*/ 0 h 3046326"/>
              <a:gd name="connsiteX2" fmla="*/ 5619003 w 5619003"/>
              <a:gd name="connsiteY2" fmla="*/ 3046326 h 3046326"/>
              <a:gd name="connsiteX3" fmla="*/ 0 w 5619003"/>
              <a:gd name="connsiteY3" fmla="*/ 3046326 h 3046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19003" h="3046326">
                <a:moveTo>
                  <a:pt x="0" y="0"/>
                </a:moveTo>
                <a:lnTo>
                  <a:pt x="5619003" y="0"/>
                </a:lnTo>
                <a:lnTo>
                  <a:pt x="5619003" y="3046326"/>
                </a:lnTo>
                <a:lnTo>
                  <a:pt x="0" y="3046326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>
            <a:lvl1pPr marL="172796" indent="-172796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200"/>
            </a:lvl1pPr>
            <a:lvl2pPr marL="345591" indent="-172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Char char="-"/>
              <a:defRPr sz="1100"/>
            </a:lvl2pPr>
            <a:lvl3pPr marL="518387" indent="-172796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Char char="▪"/>
              <a:defRPr sz="1000"/>
            </a:lvl3pPr>
            <a:lvl4pPr marL="691183" indent="-17279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800"/>
            </a:lvl4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97F5B4CC-C4A6-45CA-81E0-EA5CF067E7B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57899" y="3"/>
            <a:ext cx="3086100" cy="5143499"/>
          </a:xfrm>
          <a:custGeom>
            <a:avLst/>
            <a:gdLst>
              <a:gd name="connsiteX0" fmla="*/ 2611605 w 3086100"/>
              <a:gd name="connsiteY0" fmla="*/ 4869227 h 5143499"/>
              <a:gd name="connsiteX1" fmla="*/ 2606783 w 3086100"/>
              <a:gd name="connsiteY1" fmla="*/ 4873181 h 5143499"/>
              <a:gd name="connsiteX2" fmla="*/ 2606792 w 3086100"/>
              <a:gd name="connsiteY2" fmla="*/ 4873181 h 5143499"/>
              <a:gd name="connsiteX3" fmla="*/ 2595484 w 3086100"/>
              <a:gd name="connsiteY3" fmla="*/ 4930786 h 5143499"/>
              <a:gd name="connsiteX4" fmla="*/ 2652923 w 3086100"/>
              <a:gd name="connsiteY4" fmla="*/ 4930786 h 5143499"/>
              <a:gd name="connsiteX5" fmla="*/ 2654112 w 3086100"/>
              <a:gd name="connsiteY5" fmla="*/ 4924629 h 5143499"/>
              <a:gd name="connsiteX6" fmla="*/ 2651124 w 3086100"/>
              <a:gd name="connsiteY6" fmla="*/ 4921281 h 5143499"/>
              <a:gd name="connsiteX7" fmla="*/ 2612964 w 3086100"/>
              <a:gd name="connsiteY7" fmla="*/ 4921281 h 5143499"/>
              <a:gd name="connsiteX8" fmla="*/ 2616207 w 3086100"/>
              <a:gd name="connsiteY8" fmla="*/ 4904759 h 5143499"/>
              <a:gd name="connsiteX9" fmla="*/ 2649927 w 3086100"/>
              <a:gd name="connsiteY9" fmla="*/ 4904759 h 5143499"/>
              <a:gd name="connsiteX10" fmla="*/ 2651752 w 3086100"/>
              <a:gd name="connsiteY10" fmla="*/ 4903296 h 5143499"/>
              <a:gd name="connsiteX11" fmla="*/ 2653042 w 3086100"/>
              <a:gd name="connsiteY11" fmla="*/ 4896743 h 5143499"/>
              <a:gd name="connsiteX12" fmla="*/ 2651794 w 3086100"/>
              <a:gd name="connsiteY12" fmla="*/ 4895279 h 5143499"/>
              <a:gd name="connsiteX13" fmla="*/ 2618057 w 3086100"/>
              <a:gd name="connsiteY13" fmla="*/ 4895279 h 5143499"/>
              <a:gd name="connsiteX14" fmla="*/ 2621283 w 3086100"/>
              <a:gd name="connsiteY14" fmla="*/ 4878791 h 5143499"/>
              <a:gd name="connsiteX15" fmla="*/ 2658102 w 3086100"/>
              <a:gd name="connsiteY15" fmla="*/ 4878791 h 5143499"/>
              <a:gd name="connsiteX16" fmla="*/ 2662007 w 3086100"/>
              <a:gd name="connsiteY16" fmla="*/ 4876487 h 5143499"/>
              <a:gd name="connsiteX17" fmla="*/ 2663433 w 3086100"/>
              <a:gd name="connsiteY17" fmla="*/ 4869227 h 5143499"/>
              <a:gd name="connsiteX18" fmla="*/ 2511957 w 3086100"/>
              <a:gd name="connsiteY18" fmla="*/ 4869227 h 5143499"/>
              <a:gd name="connsiteX19" fmla="*/ 2507899 w 3086100"/>
              <a:gd name="connsiteY19" fmla="*/ 4873181 h 5143499"/>
              <a:gd name="connsiteX20" fmla="*/ 2496591 w 3086100"/>
              <a:gd name="connsiteY20" fmla="*/ 4930786 h 5143499"/>
              <a:gd name="connsiteX21" fmla="*/ 2508544 w 3086100"/>
              <a:gd name="connsiteY21" fmla="*/ 4930786 h 5143499"/>
              <a:gd name="connsiteX22" fmla="*/ 2512899 w 3086100"/>
              <a:gd name="connsiteY22" fmla="*/ 4927245 h 5143499"/>
              <a:gd name="connsiteX23" fmla="*/ 2521363 w 3086100"/>
              <a:gd name="connsiteY23" fmla="*/ 4884133 h 5143499"/>
              <a:gd name="connsiteX24" fmla="*/ 2535099 w 3086100"/>
              <a:gd name="connsiteY24" fmla="*/ 4903548 h 5143499"/>
              <a:gd name="connsiteX25" fmla="*/ 2538376 w 3086100"/>
              <a:gd name="connsiteY25" fmla="*/ 4905424 h 5143499"/>
              <a:gd name="connsiteX26" fmla="*/ 2544556 w 3086100"/>
              <a:gd name="connsiteY26" fmla="*/ 4905424 h 5143499"/>
              <a:gd name="connsiteX27" fmla="*/ 2548580 w 3086100"/>
              <a:gd name="connsiteY27" fmla="*/ 4903548 h 5143499"/>
              <a:gd name="connsiteX28" fmla="*/ 2569922 w 3086100"/>
              <a:gd name="connsiteY28" fmla="*/ 4884133 h 5143499"/>
              <a:gd name="connsiteX29" fmla="*/ 2561458 w 3086100"/>
              <a:gd name="connsiteY29" fmla="*/ 4927245 h 5143499"/>
              <a:gd name="connsiteX30" fmla="*/ 2564430 w 3086100"/>
              <a:gd name="connsiteY30" fmla="*/ 4930786 h 5143499"/>
              <a:gd name="connsiteX31" fmla="*/ 2576374 w 3086100"/>
              <a:gd name="connsiteY31" fmla="*/ 4930786 h 5143499"/>
              <a:gd name="connsiteX32" fmla="*/ 2587691 w 3086100"/>
              <a:gd name="connsiteY32" fmla="*/ 4873189 h 5143499"/>
              <a:gd name="connsiteX33" fmla="*/ 2585186 w 3086100"/>
              <a:gd name="connsiteY33" fmla="*/ 4869227 h 5143499"/>
              <a:gd name="connsiteX34" fmla="*/ 2571111 w 3086100"/>
              <a:gd name="connsiteY34" fmla="*/ 4869227 h 5143499"/>
              <a:gd name="connsiteX35" fmla="*/ 2543860 w 3086100"/>
              <a:gd name="connsiteY35" fmla="*/ 4893226 h 5143499"/>
              <a:gd name="connsiteX36" fmla="*/ 2526032 w 3086100"/>
              <a:gd name="connsiteY36" fmla="*/ 4869227 h 5143499"/>
              <a:gd name="connsiteX37" fmla="*/ 2441121 w 3086100"/>
              <a:gd name="connsiteY37" fmla="*/ 4869227 h 5143499"/>
              <a:gd name="connsiteX38" fmla="*/ 2436290 w 3086100"/>
              <a:gd name="connsiteY38" fmla="*/ 4873181 h 5143499"/>
              <a:gd name="connsiteX39" fmla="*/ 2424999 w 3086100"/>
              <a:gd name="connsiteY39" fmla="*/ 4930786 h 5143499"/>
              <a:gd name="connsiteX40" fmla="*/ 2482413 w 3086100"/>
              <a:gd name="connsiteY40" fmla="*/ 4930786 h 5143499"/>
              <a:gd name="connsiteX41" fmla="*/ 2483627 w 3086100"/>
              <a:gd name="connsiteY41" fmla="*/ 4924629 h 5143499"/>
              <a:gd name="connsiteX42" fmla="*/ 2480614 w 3086100"/>
              <a:gd name="connsiteY42" fmla="*/ 4921281 h 5143499"/>
              <a:gd name="connsiteX43" fmla="*/ 2442471 w 3086100"/>
              <a:gd name="connsiteY43" fmla="*/ 4921281 h 5143499"/>
              <a:gd name="connsiteX44" fmla="*/ 2445705 w 3086100"/>
              <a:gd name="connsiteY44" fmla="*/ 4904759 h 5143499"/>
              <a:gd name="connsiteX45" fmla="*/ 2479425 w 3086100"/>
              <a:gd name="connsiteY45" fmla="*/ 4904759 h 5143499"/>
              <a:gd name="connsiteX46" fmla="*/ 2481259 w 3086100"/>
              <a:gd name="connsiteY46" fmla="*/ 4903296 h 5143499"/>
              <a:gd name="connsiteX47" fmla="*/ 2482549 w 3086100"/>
              <a:gd name="connsiteY47" fmla="*/ 4896743 h 5143499"/>
              <a:gd name="connsiteX48" fmla="*/ 2481293 w 3086100"/>
              <a:gd name="connsiteY48" fmla="*/ 4895279 h 5143499"/>
              <a:gd name="connsiteX49" fmla="*/ 2447564 w 3086100"/>
              <a:gd name="connsiteY49" fmla="*/ 4895279 h 5143499"/>
              <a:gd name="connsiteX50" fmla="*/ 2450807 w 3086100"/>
              <a:gd name="connsiteY50" fmla="*/ 4878791 h 5143499"/>
              <a:gd name="connsiteX51" fmla="*/ 2487617 w 3086100"/>
              <a:gd name="connsiteY51" fmla="*/ 4878791 h 5143499"/>
              <a:gd name="connsiteX52" fmla="*/ 2491540 w 3086100"/>
              <a:gd name="connsiteY52" fmla="*/ 4876487 h 5143499"/>
              <a:gd name="connsiteX53" fmla="*/ 2492949 w 3086100"/>
              <a:gd name="connsiteY53" fmla="*/ 4869227 h 5143499"/>
              <a:gd name="connsiteX54" fmla="*/ 2368044 w 3086100"/>
              <a:gd name="connsiteY54" fmla="*/ 4869227 h 5143499"/>
              <a:gd name="connsiteX55" fmla="*/ 2362764 w 3086100"/>
              <a:gd name="connsiteY55" fmla="*/ 4872558 h 5143499"/>
              <a:gd name="connsiteX56" fmla="*/ 2361533 w 3086100"/>
              <a:gd name="connsiteY56" fmla="*/ 4878766 h 5143499"/>
              <a:gd name="connsiteX57" fmla="*/ 2385999 w 3086100"/>
              <a:gd name="connsiteY57" fmla="*/ 4878766 h 5143499"/>
              <a:gd name="connsiteX58" fmla="*/ 2375812 w 3086100"/>
              <a:gd name="connsiteY58" fmla="*/ 4930786 h 5143499"/>
              <a:gd name="connsiteX59" fmla="*/ 2386780 w 3086100"/>
              <a:gd name="connsiteY59" fmla="*/ 4930786 h 5143499"/>
              <a:gd name="connsiteX60" fmla="*/ 2392281 w 3086100"/>
              <a:gd name="connsiteY60" fmla="*/ 4926412 h 5143499"/>
              <a:gd name="connsiteX61" fmla="*/ 2401620 w 3086100"/>
              <a:gd name="connsiteY61" fmla="*/ 4878766 h 5143499"/>
              <a:gd name="connsiteX62" fmla="*/ 2422045 w 3086100"/>
              <a:gd name="connsiteY62" fmla="*/ 4878766 h 5143499"/>
              <a:gd name="connsiteX63" fmla="*/ 2426443 w 3086100"/>
              <a:gd name="connsiteY63" fmla="*/ 4874998 h 5143499"/>
              <a:gd name="connsiteX64" fmla="*/ 2426443 w 3086100"/>
              <a:gd name="connsiteY64" fmla="*/ 4875006 h 5143499"/>
              <a:gd name="connsiteX65" fmla="*/ 2427580 w 3086100"/>
              <a:gd name="connsiteY65" fmla="*/ 4869227 h 5143499"/>
              <a:gd name="connsiteX66" fmla="*/ 2216737 w 3086100"/>
              <a:gd name="connsiteY66" fmla="*/ 4869227 h 5143499"/>
              <a:gd name="connsiteX67" fmla="*/ 2213825 w 3086100"/>
              <a:gd name="connsiteY67" fmla="*/ 4871305 h 5143499"/>
              <a:gd name="connsiteX68" fmla="*/ 2210514 w 3086100"/>
              <a:gd name="connsiteY68" fmla="*/ 4888213 h 5143499"/>
              <a:gd name="connsiteX69" fmla="*/ 2254821 w 3086100"/>
              <a:gd name="connsiteY69" fmla="*/ 4909924 h 5143499"/>
              <a:gd name="connsiteX70" fmla="*/ 2250720 w 3086100"/>
              <a:gd name="connsiteY70" fmla="*/ 4930786 h 5143499"/>
              <a:gd name="connsiteX71" fmla="*/ 2261697 w 3086100"/>
              <a:gd name="connsiteY71" fmla="*/ 4930786 h 5143499"/>
              <a:gd name="connsiteX72" fmla="*/ 2267198 w 3086100"/>
              <a:gd name="connsiteY72" fmla="*/ 4926412 h 5143499"/>
              <a:gd name="connsiteX73" fmla="*/ 2278404 w 3086100"/>
              <a:gd name="connsiteY73" fmla="*/ 4869227 h 5143499"/>
              <a:gd name="connsiteX74" fmla="*/ 2265110 w 3086100"/>
              <a:gd name="connsiteY74" fmla="*/ 4869227 h 5143499"/>
              <a:gd name="connsiteX75" fmla="*/ 2262402 w 3086100"/>
              <a:gd name="connsiteY75" fmla="*/ 4871305 h 5143499"/>
              <a:gd name="connsiteX76" fmla="*/ 2256883 w 3086100"/>
              <a:gd name="connsiteY76" fmla="*/ 4899334 h 5143499"/>
              <a:gd name="connsiteX77" fmla="*/ 2226203 w 3086100"/>
              <a:gd name="connsiteY77" fmla="*/ 4887801 h 5143499"/>
              <a:gd name="connsiteX78" fmla="*/ 2229853 w 3086100"/>
              <a:gd name="connsiteY78" fmla="*/ 4869227 h 5143499"/>
              <a:gd name="connsiteX79" fmla="*/ 2702459 w 3086100"/>
              <a:gd name="connsiteY79" fmla="*/ 4869050 h 5143499"/>
              <a:gd name="connsiteX80" fmla="*/ 2673697 w 3086100"/>
              <a:gd name="connsiteY80" fmla="*/ 4880810 h 5143499"/>
              <a:gd name="connsiteX81" fmla="*/ 2692561 w 3086100"/>
              <a:gd name="connsiteY81" fmla="*/ 4902211 h 5143499"/>
              <a:gd name="connsiteX82" fmla="*/ 2709828 w 3086100"/>
              <a:gd name="connsiteY82" fmla="*/ 4917184 h 5143499"/>
              <a:gd name="connsiteX83" fmla="*/ 2697900 w 3086100"/>
              <a:gd name="connsiteY83" fmla="*/ 4921314 h 5143499"/>
              <a:gd name="connsiteX84" fmla="*/ 2670828 w 3086100"/>
              <a:gd name="connsiteY84" fmla="*/ 4921314 h 5143499"/>
              <a:gd name="connsiteX85" fmla="*/ 2665428 w 3086100"/>
              <a:gd name="connsiteY85" fmla="*/ 4925293 h 5143499"/>
              <a:gd name="connsiteX86" fmla="*/ 2664359 w 3086100"/>
              <a:gd name="connsiteY86" fmla="*/ 4930786 h 5143499"/>
              <a:gd name="connsiteX87" fmla="*/ 2698486 w 3086100"/>
              <a:gd name="connsiteY87" fmla="*/ 4930786 h 5143499"/>
              <a:gd name="connsiteX88" fmla="*/ 2727435 w 3086100"/>
              <a:gd name="connsiteY88" fmla="*/ 4920372 h 5143499"/>
              <a:gd name="connsiteX89" fmla="*/ 2724931 w 3086100"/>
              <a:gd name="connsiteY89" fmla="*/ 4906282 h 5143499"/>
              <a:gd name="connsiteX90" fmla="*/ 2715236 w 3086100"/>
              <a:gd name="connsiteY90" fmla="*/ 4899334 h 5143499"/>
              <a:gd name="connsiteX91" fmla="*/ 2691890 w 3086100"/>
              <a:gd name="connsiteY91" fmla="*/ 4881853 h 5143499"/>
              <a:gd name="connsiteX92" fmla="*/ 2701992 w 3086100"/>
              <a:gd name="connsiteY92" fmla="*/ 4878766 h 5143499"/>
              <a:gd name="connsiteX93" fmla="*/ 2724880 w 3086100"/>
              <a:gd name="connsiteY93" fmla="*/ 4878766 h 5143499"/>
              <a:gd name="connsiteX94" fmla="*/ 2730271 w 3086100"/>
              <a:gd name="connsiteY94" fmla="*/ 4874796 h 5143499"/>
              <a:gd name="connsiteX95" fmla="*/ 2731408 w 3086100"/>
              <a:gd name="connsiteY95" fmla="*/ 4869050 h 5143499"/>
              <a:gd name="connsiteX96" fmla="*/ 2321030 w 3086100"/>
              <a:gd name="connsiteY96" fmla="*/ 4869050 h 5143499"/>
              <a:gd name="connsiteX97" fmla="*/ 2292284 w 3086100"/>
              <a:gd name="connsiteY97" fmla="*/ 4880810 h 5143499"/>
              <a:gd name="connsiteX98" fmla="*/ 2311156 w 3086100"/>
              <a:gd name="connsiteY98" fmla="*/ 4902211 h 5143499"/>
              <a:gd name="connsiteX99" fmla="*/ 2328424 w 3086100"/>
              <a:gd name="connsiteY99" fmla="*/ 4917184 h 5143499"/>
              <a:gd name="connsiteX100" fmla="*/ 2316479 w 3086100"/>
              <a:gd name="connsiteY100" fmla="*/ 4921314 h 5143499"/>
              <a:gd name="connsiteX101" fmla="*/ 2289415 w 3086100"/>
              <a:gd name="connsiteY101" fmla="*/ 4921314 h 5143499"/>
              <a:gd name="connsiteX102" fmla="*/ 2284016 w 3086100"/>
              <a:gd name="connsiteY102" fmla="*/ 4925293 h 5143499"/>
              <a:gd name="connsiteX103" fmla="*/ 2282938 w 3086100"/>
              <a:gd name="connsiteY103" fmla="*/ 4930786 h 5143499"/>
              <a:gd name="connsiteX104" fmla="*/ 2317065 w 3086100"/>
              <a:gd name="connsiteY104" fmla="*/ 4930786 h 5143499"/>
              <a:gd name="connsiteX105" fmla="*/ 2346014 w 3086100"/>
              <a:gd name="connsiteY105" fmla="*/ 4920372 h 5143499"/>
              <a:gd name="connsiteX106" fmla="*/ 2343526 w 3086100"/>
              <a:gd name="connsiteY106" fmla="*/ 4906282 h 5143499"/>
              <a:gd name="connsiteX107" fmla="*/ 2333823 w 3086100"/>
              <a:gd name="connsiteY107" fmla="*/ 4899334 h 5143499"/>
              <a:gd name="connsiteX108" fmla="*/ 2310469 w 3086100"/>
              <a:gd name="connsiteY108" fmla="*/ 4881853 h 5143499"/>
              <a:gd name="connsiteX109" fmla="*/ 2320571 w 3086100"/>
              <a:gd name="connsiteY109" fmla="*/ 4878766 h 5143499"/>
              <a:gd name="connsiteX110" fmla="*/ 2343467 w 3086100"/>
              <a:gd name="connsiteY110" fmla="*/ 4878766 h 5143499"/>
              <a:gd name="connsiteX111" fmla="*/ 2348858 w 3086100"/>
              <a:gd name="connsiteY111" fmla="*/ 4874796 h 5143499"/>
              <a:gd name="connsiteX112" fmla="*/ 2349995 w 3086100"/>
              <a:gd name="connsiteY112" fmla="*/ 4869050 h 5143499"/>
              <a:gd name="connsiteX113" fmla="*/ 2170529 w 3086100"/>
              <a:gd name="connsiteY113" fmla="*/ 4869050 h 5143499"/>
              <a:gd name="connsiteX114" fmla="*/ 2141784 w 3086100"/>
              <a:gd name="connsiteY114" fmla="*/ 4880810 h 5143499"/>
              <a:gd name="connsiteX115" fmla="*/ 2160664 w 3086100"/>
              <a:gd name="connsiteY115" fmla="*/ 4902211 h 5143499"/>
              <a:gd name="connsiteX116" fmla="*/ 2177923 w 3086100"/>
              <a:gd name="connsiteY116" fmla="*/ 4917184 h 5143499"/>
              <a:gd name="connsiteX117" fmla="*/ 2165979 w 3086100"/>
              <a:gd name="connsiteY117" fmla="*/ 4921314 h 5143499"/>
              <a:gd name="connsiteX118" fmla="*/ 2138906 w 3086100"/>
              <a:gd name="connsiteY118" fmla="*/ 4921314 h 5143499"/>
              <a:gd name="connsiteX119" fmla="*/ 2133515 w 3086100"/>
              <a:gd name="connsiteY119" fmla="*/ 4925293 h 5143499"/>
              <a:gd name="connsiteX120" fmla="*/ 2132429 w 3086100"/>
              <a:gd name="connsiteY120" fmla="*/ 4930786 h 5143499"/>
              <a:gd name="connsiteX121" fmla="*/ 2166556 w 3086100"/>
              <a:gd name="connsiteY121" fmla="*/ 4930786 h 5143499"/>
              <a:gd name="connsiteX122" fmla="*/ 2195522 w 3086100"/>
              <a:gd name="connsiteY122" fmla="*/ 4920372 h 5143499"/>
              <a:gd name="connsiteX123" fmla="*/ 2193018 w 3086100"/>
              <a:gd name="connsiteY123" fmla="*/ 4906282 h 5143499"/>
              <a:gd name="connsiteX124" fmla="*/ 2183331 w 3086100"/>
              <a:gd name="connsiteY124" fmla="*/ 4899334 h 5143499"/>
              <a:gd name="connsiteX125" fmla="*/ 2159960 w 3086100"/>
              <a:gd name="connsiteY125" fmla="*/ 4881853 h 5143499"/>
              <a:gd name="connsiteX126" fmla="*/ 2170062 w 3086100"/>
              <a:gd name="connsiteY126" fmla="*/ 4878766 h 5143499"/>
              <a:gd name="connsiteX127" fmla="*/ 2192950 w 3086100"/>
              <a:gd name="connsiteY127" fmla="*/ 4878766 h 5143499"/>
              <a:gd name="connsiteX128" fmla="*/ 2198357 w 3086100"/>
              <a:gd name="connsiteY128" fmla="*/ 4874796 h 5143499"/>
              <a:gd name="connsiteX129" fmla="*/ 2199478 w 3086100"/>
              <a:gd name="connsiteY129" fmla="*/ 4869050 h 5143499"/>
              <a:gd name="connsiteX130" fmla="*/ 1923012 w 3086100"/>
              <a:gd name="connsiteY130" fmla="*/ 4818696 h 5143499"/>
              <a:gd name="connsiteX131" fmla="*/ 1875097 w 3086100"/>
              <a:gd name="connsiteY131" fmla="*/ 4832400 h 5143499"/>
              <a:gd name="connsiteX132" fmla="*/ 1904844 w 3086100"/>
              <a:gd name="connsiteY132" fmla="*/ 4837127 h 5143499"/>
              <a:gd name="connsiteX133" fmla="*/ 1961010 w 3086100"/>
              <a:gd name="connsiteY133" fmla="*/ 4852572 h 5143499"/>
              <a:gd name="connsiteX134" fmla="*/ 1883875 w 3086100"/>
              <a:gd name="connsiteY134" fmla="*/ 4932276 h 5143499"/>
              <a:gd name="connsiteX135" fmla="*/ 1905736 w 3086100"/>
              <a:gd name="connsiteY135" fmla="*/ 4875982 h 5143499"/>
              <a:gd name="connsiteX136" fmla="*/ 1911313 w 3086100"/>
              <a:gd name="connsiteY136" fmla="*/ 4853186 h 5143499"/>
              <a:gd name="connsiteX137" fmla="*/ 1892636 w 3086100"/>
              <a:gd name="connsiteY137" fmla="*/ 4872029 h 5143499"/>
              <a:gd name="connsiteX138" fmla="*/ 1855996 w 3086100"/>
              <a:gd name="connsiteY138" fmla="*/ 4935413 h 5143499"/>
              <a:gd name="connsiteX139" fmla="*/ 1845605 w 3086100"/>
              <a:gd name="connsiteY139" fmla="*/ 4965486 h 5143499"/>
              <a:gd name="connsiteX140" fmla="*/ 1886677 w 3086100"/>
              <a:gd name="connsiteY140" fmla="*/ 4955215 h 5143499"/>
              <a:gd name="connsiteX141" fmla="*/ 1990647 w 3086100"/>
              <a:gd name="connsiteY141" fmla="*/ 4857299 h 5143499"/>
              <a:gd name="connsiteX142" fmla="*/ 1981733 w 3086100"/>
              <a:gd name="connsiteY142" fmla="*/ 4831516 h 5143499"/>
              <a:gd name="connsiteX143" fmla="*/ 1923012 w 3086100"/>
              <a:gd name="connsiteY143" fmla="*/ 4818696 h 5143499"/>
              <a:gd name="connsiteX144" fmla="*/ 2505547 w 3086100"/>
              <a:gd name="connsiteY144" fmla="*/ 4793384 h 5143499"/>
              <a:gd name="connsiteX145" fmla="*/ 2520191 w 3086100"/>
              <a:gd name="connsiteY145" fmla="*/ 4809729 h 5143499"/>
              <a:gd name="connsiteX146" fmla="*/ 2519453 w 3086100"/>
              <a:gd name="connsiteY146" fmla="*/ 4813430 h 5143499"/>
              <a:gd name="connsiteX147" fmla="*/ 2515157 w 3086100"/>
              <a:gd name="connsiteY147" fmla="*/ 4818015 h 5143499"/>
              <a:gd name="connsiteX148" fmla="*/ 2481930 w 3086100"/>
              <a:gd name="connsiteY148" fmla="*/ 4818015 h 5143499"/>
              <a:gd name="connsiteX149" fmla="*/ 2483560 w 3086100"/>
              <a:gd name="connsiteY149" fmla="*/ 4809729 h 5143499"/>
              <a:gd name="connsiteX150" fmla="*/ 2505547 w 3086100"/>
              <a:gd name="connsiteY150" fmla="*/ 4793384 h 5143499"/>
              <a:gd name="connsiteX151" fmla="*/ 2277190 w 3086100"/>
              <a:gd name="connsiteY151" fmla="*/ 4793384 h 5143499"/>
              <a:gd name="connsiteX152" fmla="*/ 2291826 w 3086100"/>
              <a:gd name="connsiteY152" fmla="*/ 4809729 h 5143499"/>
              <a:gd name="connsiteX153" fmla="*/ 2291096 w 3086100"/>
              <a:gd name="connsiteY153" fmla="*/ 4813430 h 5143499"/>
              <a:gd name="connsiteX154" fmla="*/ 2286792 w 3086100"/>
              <a:gd name="connsiteY154" fmla="*/ 4818015 h 5143499"/>
              <a:gd name="connsiteX155" fmla="*/ 2253581 w 3086100"/>
              <a:gd name="connsiteY155" fmla="*/ 4818015 h 5143499"/>
              <a:gd name="connsiteX156" fmla="*/ 2255203 w 3086100"/>
              <a:gd name="connsiteY156" fmla="*/ 4809729 h 5143499"/>
              <a:gd name="connsiteX157" fmla="*/ 2277190 w 3086100"/>
              <a:gd name="connsiteY157" fmla="*/ 4793384 h 5143499"/>
              <a:gd name="connsiteX158" fmla="*/ 2040133 w 3086100"/>
              <a:gd name="connsiteY158" fmla="*/ 4783925 h 5143499"/>
              <a:gd name="connsiteX159" fmla="*/ 2006938 w 3086100"/>
              <a:gd name="connsiteY159" fmla="*/ 4801897 h 5143499"/>
              <a:gd name="connsiteX160" fmla="*/ 2033272 w 3086100"/>
              <a:gd name="connsiteY160" fmla="*/ 4864567 h 5143499"/>
              <a:gd name="connsiteX161" fmla="*/ 2056151 w 3086100"/>
              <a:gd name="connsiteY161" fmla="*/ 4909865 h 5143499"/>
              <a:gd name="connsiteX162" fmla="*/ 2007592 w 3086100"/>
              <a:gd name="connsiteY162" fmla="*/ 4918715 h 5143499"/>
              <a:gd name="connsiteX163" fmla="*/ 1971155 w 3086100"/>
              <a:gd name="connsiteY163" fmla="*/ 4921575 h 5143499"/>
              <a:gd name="connsiteX164" fmla="*/ 1977862 w 3086100"/>
              <a:gd name="connsiteY164" fmla="*/ 4931232 h 5143499"/>
              <a:gd name="connsiteX165" fmla="*/ 2032084 w 3086100"/>
              <a:gd name="connsiteY165" fmla="*/ 4936700 h 5143499"/>
              <a:gd name="connsiteX166" fmla="*/ 2087061 w 3086100"/>
              <a:gd name="connsiteY166" fmla="*/ 4911876 h 5143499"/>
              <a:gd name="connsiteX167" fmla="*/ 2062696 w 3086100"/>
              <a:gd name="connsiteY167" fmla="*/ 4859915 h 5143499"/>
              <a:gd name="connsiteX168" fmla="*/ 2034274 w 3086100"/>
              <a:gd name="connsiteY168" fmla="*/ 4812505 h 5143499"/>
              <a:gd name="connsiteX169" fmla="*/ 2086543 w 3086100"/>
              <a:gd name="connsiteY169" fmla="*/ 4800492 h 5143499"/>
              <a:gd name="connsiteX170" fmla="*/ 2103913 w 3086100"/>
              <a:gd name="connsiteY170" fmla="*/ 4794234 h 5143499"/>
              <a:gd name="connsiteX171" fmla="*/ 2079548 w 3086100"/>
              <a:gd name="connsiteY171" fmla="*/ 4785283 h 5143499"/>
              <a:gd name="connsiteX172" fmla="*/ 2040133 w 3086100"/>
              <a:gd name="connsiteY172" fmla="*/ 4783925 h 5143499"/>
              <a:gd name="connsiteX173" fmla="*/ 2693180 w 3086100"/>
              <a:gd name="connsiteY173" fmla="*/ 4783845 h 5143499"/>
              <a:gd name="connsiteX174" fmla="*/ 2687908 w 3086100"/>
              <a:gd name="connsiteY174" fmla="*/ 4787193 h 5143499"/>
              <a:gd name="connsiteX175" fmla="*/ 2686686 w 3086100"/>
              <a:gd name="connsiteY175" fmla="*/ 4793401 h 5143499"/>
              <a:gd name="connsiteX176" fmla="*/ 2711152 w 3086100"/>
              <a:gd name="connsiteY176" fmla="*/ 4793401 h 5143499"/>
              <a:gd name="connsiteX177" fmla="*/ 2700957 w 3086100"/>
              <a:gd name="connsiteY177" fmla="*/ 4845421 h 5143499"/>
              <a:gd name="connsiteX178" fmla="*/ 2711925 w 3086100"/>
              <a:gd name="connsiteY178" fmla="*/ 4845421 h 5143499"/>
              <a:gd name="connsiteX179" fmla="*/ 2717418 w 3086100"/>
              <a:gd name="connsiteY179" fmla="*/ 4841047 h 5143499"/>
              <a:gd name="connsiteX180" fmla="*/ 2726773 w 3086100"/>
              <a:gd name="connsiteY180" fmla="*/ 4793401 h 5143499"/>
              <a:gd name="connsiteX181" fmla="*/ 2747198 w 3086100"/>
              <a:gd name="connsiteY181" fmla="*/ 4793401 h 5143499"/>
              <a:gd name="connsiteX182" fmla="*/ 2751613 w 3086100"/>
              <a:gd name="connsiteY182" fmla="*/ 4789632 h 5143499"/>
              <a:gd name="connsiteX183" fmla="*/ 2752734 w 3086100"/>
              <a:gd name="connsiteY183" fmla="*/ 4783845 h 5143499"/>
              <a:gd name="connsiteX184" fmla="*/ 2642813 w 3086100"/>
              <a:gd name="connsiteY184" fmla="*/ 4783845 h 5143499"/>
              <a:gd name="connsiteX185" fmla="*/ 2630732 w 3086100"/>
              <a:gd name="connsiteY185" fmla="*/ 4845421 h 5143499"/>
              <a:gd name="connsiteX186" fmla="*/ 2683324 w 3086100"/>
              <a:gd name="connsiteY186" fmla="*/ 4845421 h 5143499"/>
              <a:gd name="connsiteX187" fmla="*/ 2684462 w 3086100"/>
              <a:gd name="connsiteY187" fmla="*/ 4839659 h 5143499"/>
              <a:gd name="connsiteX188" fmla="*/ 2681541 w 3086100"/>
              <a:gd name="connsiteY188" fmla="*/ 4835915 h 5143499"/>
              <a:gd name="connsiteX189" fmla="*/ 2648203 w 3086100"/>
              <a:gd name="connsiteY189" fmla="*/ 4835915 h 5143499"/>
              <a:gd name="connsiteX190" fmla="*/ 2658017 w 3086100"/>
              <a:gd name="connsiteY190" fmla="*/ 4785931 h 5143499"/>
              <a:gd name="connsiteX191" fmla="*/ 2656107 w 3086100"/>
              <a:gd name="connsiteY191" fmla="*/ 4783845 h 5143499"/>
              <a:gd name="connsiteX192" fmla="*/ 2559124 w 3086100"/>
              <a:gd name="connsiteY192" fmla="*/ 4783845 h 5143499"/>
              <a:gd name="connsiteX193" fmla="*/ 2555592 w 3086100"/>
              <a:gd name="connsiteY193" fmla="*/ 4786579 h 5143499"/>
              <a:gd name="connsiteX194" fmla="*/ 2549480 w 3086100"/>
              <a:gd name="connsiteY194" fmla="*/ 4817947 h 5143499"/>
              <a:gd name="connsiteX195" fmla="*/ 2578361 w 3086100"/>
              <a:gd name="connsiteY195" fmla="*/ 4846800 h 5143499"/>
              <a:gd name="connsiteX196" fmla="*/ 2578361 w 3086100"/>
              <a:gd name="connsiteY196" fmla="*/ 4846792 h 5143499"/>
              <a:gd name="connsiteX197" fmla="*/ 2618040 w 3086100"/>
              <a:gd name="connsiteY197" fmla="*/ 4817939 h 5143499"/>
              <a:gd name="connsiteX198" fmla="*/ 2624127 w 3086100"/>
              <a:gd name="connsiteY198" fmla="*/ 4786579 h 5143499"/>
              <a:gd name="connsiteX199" fmla="*/ 2621665 w 3086100"/>
              <a:gd name="connsiteY199" fmla="*/ 4783845 h 5143499"/>
              <a:gd name="connsiteX200" fmla="*/ 2609228 w 3086100"/>
              <a:gd name="connsiteY200" fmla="*/ 4783845 h 5143499"/>
              <a:gd name="connsiteX201" fmla="*/ 2605816 w 3086100"/>
              <a:gd name="connsiteY201" fmla="*/ 4801889 h 5143499"/>
              <a:gd name="connsiteX202" fmla="*/ 2603863 w 3086100"/>
              <a:gd name="connsiteY202" fmla="*/ 4811495 h 5143499"/>
              <a:gd name="connsiteX203" fmla="*/ 2602233 w 3086100"/>
              <a:gd name="connsiteY203" fmla="*/ 4819840 h 5143499"/>
              <a:gd name="connsiteX204" fmla="*/ 2579940 w 3086100"/>
              <a:gd name="connsiteY204" fmla="*/ 4836328 h 5143499"/>
              <a:gd name="connsiteX205" fmla="*/ 2564557 w 3086100"/>
              <a:gd name="connsiteY205" fmla="*/ 4819840 h 5143499"/>
              <a:gd name="connsiteX206" fmla="*/ 2565270 w 3086100"/>
              <a:gd name="connsiteY206" fmla="*/ 4816113 h 5143499"/>
              <a:gd name="connsiteX207" fmla="*/ 2568140 w 3086100"/>
              <a:gd name="connsiteY207" fmla="*/ 4801897 h 5143499"/>
              <a:gd name="connsiteX208" fmla="*/ 2571561 w 3086100"/>
              <a:gd name="connsiteY208" fmla="*/ 4783845 h 5143499"/>
              <a:gd name="connsiteX209" fmla="*/ 2155095 w 3086100"/>
              <a:gd name="connsiteY209" fmla="*/ 4783845 h 5143499"/>
              <a:gd name="connsiteX210" fmla="*/ 2154909 w 3086100"/>
              <a:gd name="connsiteY210" fmla="*/ 4784644 h 5143499"/>
              <a:gd name="connsiteX211" fmla="*/ 2161471 w 3086100"/>
              <a:gd name="connsiteY211" fmla="*/ 4793359 h 5143499"/>
              <a:gd name="connsiteX212" fmla="*/ 2193833 w 3086100"/>
              <a:gd name="connsiteY212" fmla="*/ 4793359 h 5143499"/>
              <a:gd name="connsiteX213" fmla="*/ 2208519 w 3086100"/>
              <a:gd name="connsiteY213" fmla="*/ 4814658 h 5143499"/>
              <a:gd name="connsiteX214" fmla="*/ 2188450 w 3086100"/>
              <a:gd name="connsiteY214" fmla="*/ 4835915 h 5143499"/>
              <a:gd name="connsiteX215" fmla="*/ 2166284 w 3086100"/>
              <a:gd name="connsiteY215" fmla="*/ 4835915 h 5143499"/>
              <a:gd name="connsiteX216" fmla="*/ 2173127 w 3086100"/>
              <a:gd name="connsiteY216" fmla="*/ 4800963 h 5143499"/>
              <a:gd name="connsiteX217" fmla="*/ 2160028 w 3086100"/>
              <a:gd name="connsiteY217" fmla="*/ 4800963 h 5143499"/>
              <a:gd name="connsiteX218" fmla="*/ 2157116 w 3086100"/>
              <a:gd name="connsiteY218" fmla="*/ 4803050 h 5143499"/>
              <a:gd name="connsiteX219" fmla="*/ 2148796 w 3086100"/>
              <a:gd name="connsiteY219" fmla="*/ 4845421 h 5143499"/>
              <a:gd name="connsiteX220" fmla="*/ 2185606 w 3086100"/>
              <a:gd name="connsiteY220" fmla="*/ 4845421 h 5143499"/>
              <a:gd name="connsiteX221" fmla="*/ 2224980 w 3086100"/>
              <a:gd name="connsiteY221" fmla="*/ 4814238 h 5143499"/>
              <a:gd name="connsiteX222" fmla="*/ 2199614 w 3086100"/>
              <a:gd name="connsiteY222" fmla="*/ 4783845 h 5143499"/>
              <a:gd name="connsiteX223" fmla="*/ 2423480 w 3086100"/>
              <a:gd name="connsiteY223" fmla="*/ 4783660 h 5143499"/>
              <a:gd name="connsiteX224" fmla="*/ 2394718 w 3086100"/>
              <a:gd name="connsiteY224" fmla="*/ 4795437 h 5143499"/>
              <a:gd name="connsiteX225" fmla="*/ 2413598 w 3086100"/>
              <a:gd name="connsiteY225" fmla="*/ 4816837 h 5143499"/>
              <a:gd name="connsiteX226" fmla="*/ 2430874 w 3086100"/>
              <a:gd name="connsiteY226" fmla="*/ 4831819 h 5143499"/>
              <a:gd name="connsiteX227" fmla="*/ 2418930 w 3086100"/>
              <a:gd name="connsiteY227" fmla="*/ 4835941 h 5143499"/>
              <a:gd name="connsiteX228" fmla="*/ 2391865 w 3086100"/>
              <a:gd name="connsiteY228" fmla="*/ 4835941 h 5143499"/>
              <a:gd name="connsiteX229" fmla="*/ 2386458 w 3086100"/>
              <a:gd name="connsiteY229" fmla="*/ 4839919 h 5143499"/>
              <a:gd name="connsiteX230" fmla="*/ 2385388 w 3086100"/>
              <a:gd name="connsiteY230" fmla="*/ 4845421 h 5143499"/>
              <a:gd name="connsiteX231" fmla="*/ 2419515 w 3086100"/>
              <a:gd name="connsiteY231" fmla="*/ 4845421 h 5143499"/>
              <a:gd name="connsiteX232" fmla="*/ 2448473 w 3086100"/>
              <a:gd name="connsiteY232" fmla="*/ 4834998 h 5143499"/>
              <a:gd name="connsiteX233" fmla="*/ 2448481 w 3086100"/>
              <a:gd name="connsiteY233" fmla="*/ 4834998 h 5143499"/>
              <a:gd name="connsiteX234" fmla="*/ 2445977 w 3086100"/>
              <a:gd name="connsiteY234" fmla="*/ 4820908 h 5143499"/>
              <a:gd name="connsiteX235" fmla="*/ 2436282 w 3086100"/>
              <a:gd name="connsiteY235" fmla="*/ 4813943 h 5143499"/>
              <a:gd name="connsiteX236" fmla="*/ 2412911 w 3086100"/>
              <a:gd name="connsiteY236" fmla="*/ 4796480 h 5143499"/>
              <a:gd name="connsiteX237" fmla="*/ 2423038 w 3086100"/>
              <a:gd name="connsiteY237" fmla="*/ 4793384 h 5143499"/>
              <a:gd name="connsiteX238" fmla="*/ 2445909 w 3086100"/>
              <a:gd name="connsiteY238" fmla="*/ 4793384 h 5143499"/>
              <a:gd name="connsiteX239" fmla="*/ 2451317 w 3086100"/>
              <a:gd name="connsiteY239" fmla="*/ 4789430 h 5143499"/>
              <a:gd name="connsiteX240" fmla="*/ 2452446 w 3086100"/>
              <a:gd name="connsiteY240" fmla="*/ 4783660 h 5143499"/>
              <a:gd name="connsiteX241" fmla="*/ 2350776 w 3086100"/>
              <a:gd name="connsiteY241" fmla="*/ 4783660 h 5143499"/>
              <a:gd name="connsiteX242" fmla="*/ 2322031 w 3086100"/>
              <a:gd name="connsiteY242" fmla="*/ 4795437 h 5143499"/>
              <a:gd name="connsiteX243" fmla="*/ 2340903 w 3086100"/>
              <a:gd name="connsiteY243" fmla="*/ 4816837 h 5143499"/>
              <a:gd name="connsiteX244" fmla="*/ 2358179 w 3086100"/>
              <a:gd name="connsiteY244" fmla="*/ 4831819 h 5143499"/>
              <a:gd name="connsiteX245" fmla="*/ 2346218 w 3086100"/>
              <a:gd name="connsiteY245" fmla="*/ 4835941 h 5143499"/>
              <a:gd name="connsiteX246" fmla="*/ 2319179 w 3086100"/>
              <a:gd name="connsiteY246" fmla="*/ 4835941 h 5143499"/>
              <a:gd name="connsiteX247" fmla="*/ 2313763 w 3086100"/>
              <a:gd name="connsiteY247" fmla="*/ 4839919 h 5143499"/>
              <a:gd name="connsiteX248" fmla="*/ 2312684 w 3086100"/>
              <a:gd name="connsiteY248" fmla="*/ 4845421 h 5143499"/>
              <a:gd name="connsiteX249" fmla="*/ 2346812 w 3086100"/>
              <a:gd name="connsiteY249" fmla="*/ 4845421 h 5143499"/>
              <a:gd name="connsiteX250" fmla="*/ 2375778 w 3086100"/>
              <a:gd name="connsiteY250" fmla="*/ 4834998 h 5143499"/>
              <a:gd name="connsiteX251" fmla="*/ 2373273 w 3086100"/>
              <a:gd name="connsiteY251" fmla="*/ 4820908 h 5143499"/>
              <a:gd name="connsiteX252" fmla="*/ 2363579 w 3086100"/>
              <a:gd name="connsiteY252" fmla="*/ 4813943 h 5143499"/>
              <a:gd name="connsiteX253" fmla="*/ 2340216 w 3086100"/>
              <a:gd name="connsiteY253" fmla="*/ 4796480 h 5143499"/>
              <a:gd name="connsiteX254" fmla="*/ 2350335 w 3086100"/>
              <a:gd name="connsiteY254" fmla="*/ 4793384 h 5143499"/>
              <a:gd name="connsiteX255" fmla="*/ 2373197 w 3086100"/>
              <a:gd name="connsiteY255" fmla="*/ 4793384 h 5143499"/>
              <a:gd name="connsiteX256" fmla="*/ 2378596 w 3086100"/>
              <a:gd name="connsiteY256" fmla="*/ 4789430 h 5143499"/>
              <a:gd name="connsiteX257" fmla="*/ 2379742 w 3086100"/>
              <a:gd name="connsiteY257" fmla="*/ 4783660 h 5143499"/>
              <a:gd name="connsiteX258" fmla="*/ 2507381 w 3086100"/>
              <a:gd name="connsiteY258" fmla="*/ 4783012 h 5143499"/>
              <a:gd name="connsiteX259" fmla="*/ 2468542 w 3086100"/>
              <a:gd name="connsiteY259" fmla="*/ 4811613 h 5143499"/>
              <a:gd name="connsiteX260" fmla="*/ 2462446 w 3086100"/>
              <a:gd name="connsiteY260" fmla="*/ 4842704 h 5143499"/>
              <a:gd name="connsiteX261" fmla="*/ 2464806 w 3086100"/>
              <a:gd name="connsiteY261" fmla="*/ 4845421 h 5143499"/>
              <a:gd name="connsiteX262" fmla="*/ 2476556 w 3086100"/>
              <a:gd name="connsiteY262" fmla="*/ 4845421 h 5143499"/>
              <a:gd name="connsiteX263" fmla="*/ 2479985 w 3086100"/>
              <a:gd name="connsiteY263" fmla="*/ 4827520 h 5143499"/>
              <a:gd name="connsiteX264" fmla="*/ 2516592 w 3086100"/>
              <a:gd name="connsiteY264" fmla="*/ 4827520 h 5143499"/>
              <a:gd name="connsiteX265" fmla="*/ 2513171 w 3086100"/>
              <a:gd name="connsiteY265" fmla="*/ 4845421 h 5143499"/>
              <a:gd name="connsiteX266" fmla="*/ 2524928 w 3086100"/>
              <a:gd name="connsiteY266" fmla="*/ 4845421 h 5143499"/>
              <a:gd name="connsiteX267" fmla="*/ 2528350 w 3086100"/>
              <a:gd name="connsiteY267" fmla="*/ 4842704 h 5143499"/>
              <a:gd name="connsiteX268" fmla="*/ 2534454 w 3086100"/>
              <a:gd name="connsiteY268" fmla="*/ 4811613 h 5143499"/>
              <a:gd name="connsiteX269" fmla="*/ 2507381 w 3086100"/>
              <a:gd name="connsiteY269" fmla="*/ 4783012 h 5143499"/>
              <a:gd name="connsiteX270" fmla="*/ 2279015 w 3086100"/>
              <a:gd name="connsiteY270" fmla="*/ 4783012 h 5143499"/>
              <a:gd name="connsiteX271" fmla="*/ 2240193 w 3086100"/>
              <a:gd name="connsiteY271" fmla="*/ 4811613 h 5143499"/>
              <a:gd name="connsiteX272" fmla="*/ 2234081 w 3086100"/>
              <a:gd name="connsiteY272" fmla="*/ 4842704 h 5143499"/>
              <a:gd name="connsiteX273" fmla="*/ 2236449 w 3086100"/>
              <a:gd name="connsiteY273" fmla="*/ 4845421 h 5143499"/>
              <a:gd name="connsiteX274" fmla="*/ 2248199 w 3086100"/>
              <a:gd name="connsiteY274" fmla="*/ 4845421 h 5143499"/>
              <a:gd name="connsiteX275" fmla="*/ 2251620 w 3086100"/>
              <a:gd name="connsiteY275" fmla="*/ 4827520 h 5143499"/>
              <a:gd name="connsiteX276" fmla="*/ 2288235 w 3086100"/>
              <a:gd name="connsiteY276" fmla="*/ 4827520 h 5143499"/>
              <a:gd name="connsiteX277" fmla="*/ 2284814 w 3086100"/>
              <a:gd name="connsiteY277" fmla="*/ 4845421 h 5143499"/>
              <a:gd name="connsiteX278" fmla="*/ 2296572 w 3086100"/>
              <a:gd name="connsiteY278" fmla="*/ 4845421 h 5143499"/>
              <a:gd name="connsiteX279" fmla="*/ 2299984 w 3086100"/>
              <a:gd name="connsiteY279" fmla="*/ 4842704 h 5143499"/>
              <a:gd name="connsiteX280" fmla="*/ 2306097 w 3086100"/>
              <a:gd name="connsiteY280" fmla="*/ 4811613 h 5143499"/>
              <a:gd name="connsiteX281" fmla="*/ 2279015 w 3086100"/>
              <a:gd name="connsiteY281" fmla="*/ 4783012 h 5143499"/>
              <a:gd name="connsiteX282" fmla="*/ 1973014 w 3086100"/>
              <a:gd name="connsiteY282" fmla="*/ 4694493 h 5143499"/>
              <a:gd name="connsiteX283" fmla="*/ 1973014 w 3086100"/>
              <a:gd name="connsiteY283" fmla="*/ 4694501 h 5143499"/>
              <a:gd name="connsiteX284" fmla="*/ 1929481 w 3086100"/>
              <a:gd name="connsiteY284" fmla="*/ 4706110 h 5143499"/>
              <a:gd name="connsiteX285" fmla="*/ 1953132 w 3086100"/>
              <a:gd name="connsiteY285" fmla="*/ 4710282 h 5143499"/>
              <a:gd name="connsiteX286" fmla="*/ 2002150 w 3086100"/>
              <a:gd name="connsiteY286" fmla="*/ 4720881 h 5143499"/>
              <a:gd name="connsiteX287" fmla="*/ 1953896 w 3086100"/>
              <a:gd name="connsiteY287" fmla="*/ 4787631 h 5143499"/>
              <a:gd name="connsiteX288" fmla="*/ 1938327 w 3086100"/>
              <a:gd name="connsiteY288" fmla="*/ 4802587 h 5143499"/>
              <a:gd name="connsiteX289" fmla="*/ 1940177 w 3086100"/>
              <a:gd name="connsiteY289" fmla="*/ 4806608 h 5143499"/>
              <a:gd name="connsiteX290" fmla="*/ 1957360 w 3086100"/>
              <a:gd name="connsiteY290" fmla="*/ 4800880 h 5143499"/>
              <a:gd name="connsiteX291" fmla="*/ 2029834 w 3086100"/>
              <a:gd name="connsiteY291" fmla="*/ 4714909 h 5143499"/>
              <a:gd name="connsiteX292" fmla="*/ 1973014 w 3086100"/>
              <a:gd name="connsiteY292" fmla="*/ 4694493 h 5143499"/>
              <a:gd name="connsiteX293" fmla="*/ 460601 w 3086100"/>
              <a:gd name="connsiteY293" fmla="*/ 0 h 5143499"/>
              <a:gd name="connsiteX294" fmla="*/ 3086100 w 3086100"/>
              <a:gd name="connsiteY294" fmla="*/ 0 h 5143499"/>
              <a:gd name="connsiteX295" fmla="*/ 3086100 w 3086100"/>
              <a:gd name="connsiteY295" fmla="*/ 842036 h 5143499"/>
              <a:gd name="connsiteX296" fmla="*/ 3086100 w 3086100"/>
              <a:gd name="connsiteY296" fmla="*/ 1941749 h 5143499"/>
              <a:gd name="connsiteX297" fmla="*/ 3086100 w 3086100"/>
              <a:gd name="connsiteY297" fmla="*/ 3201749 h 5143499"/>
              <a:gd name="connsiteX298" fmla="*/ 3086100 w 3086100"/>
              <a:gd name="connsiteY298" fmla="*/ 3743118 h 5143499"/>
              <a:gd name="connsiteX299" fmla="*/ 3086100 w 3086100"/>
              <a:gd name="connsiteY299" fmla="*/ 5143499 h 5143499"/>
              <a:gd name="connsiteX300" fmla="*/ 547192 w 3086100"/>
              <a:gd name="connsiteY300" fmla="*/ 5143499 h 5143499"/>
              <a:gd name="connsiteX301" fmla="*/ 451948 w 3086100"/>
              <a:gd name="connsiteY301" fmla="*/ 4947929 h 5143499"/>
              <a:gd name="connsiteX302" fmla="*/ 0 w 3086100"/>
              <a:gd name="connsiteY302" fmla="*/ 2482849 h 5143499"/>
              <a:gd name="connsiteX303" fmla="*/ 451948 w 3086100"/>
              <a:gd name="connsiteY303" fmla="*/ 17768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</a:cxnLst>
            <a:rect l="l" t="t" r="r" b="b"/>
            <a:pathLst>
              <a:path w="3086100" h="5143499">
                <a:moveTo>
                  <a:pt x="2611605" y="4869227"/>
                </a:moveTo>
                <a:cubicBezTo>
                  <a:pt x="2608906" y="4869227"/>
                  <a:pt x="2607327" y="4870464"/>
                  <a:pt x="2606783" y="4873181"/>
                </a:cubicBezTo>
                <a:lnTo>
                  <a:pt x="2606792" y="4873181"/>
                </a:lnTo>
                <a:lnTo>
                  <a:pt x="2595484" y="4930786"/>
                </a:lnTo>
                <a:lnTo>
                  <a:pt x="2652923" y="4930786"/>
                </a:lnTo>
                <a:lnTo>
                  <a:pt x="2654112" y="4924629"/>
                </a:lnTo>
                <a:cubicBezTo>
                  <a:pt x="2654621" y="4922122"/>
                  <a:pt x="2654002" y="4921281"/>
                  <a:pt x="2651124" y="4921281"/>
                </a:cubicBezTo>
                <a:lnTo>
                  <a:pt x="2612964" y="4921281"/>
                </a:lnTo>
                <a:lnTo>
                  <a:pt x="2616207" y="4904759"/>
                </a:lnTo>
                <a:lnTo>
                  <a:pt x="2649927" y="4904759"/>
                </a:lnTo>
                <a:cubicBezTo>
                  <a:pt x="2650819" y="4904793"/>
                  <a:pt x="2651599" y="4904168"/>
                  <a:pt x="2651752" y="4903296"/>
                </a:cubicBezTo>
                <a:lnTo>
                  <a:pt x="2653042" y="4896743"/>
                </a:lnTo>
                <a:cubicBezTo>
                  <a:pt x="2653212" y="4895918"/>
                  <a:pt x="2652737" y="4895279"/>
                  <a:pt x="2651794" y="4895279"/>
                </a:cubicBezTo>
                <a:lnTo>
                  <a:pt x="2618057" y="4895279"/>
                </a:lnTo>
                <a:lnTo>
                  <a:pt x="2621283" y="4878791"/>
                </a:lnTo>
                <a:lnTo>
                  <a:pt x="2658102" y="4878791"/>
                </a:lnTo>
                <a:cubicBezTo>
                  <a:pt x="2659842" y="4878791"/>
                  <a:pt x="2661566" y="4878791"/>
                  <a:pt x="2662007" y="4876487"/>
                </a:cubicBezTo>
                <a:lnTo>
                  <a:pt x="2663433" y="4869227"/>
                </a:lnTo>
                <a:close/>
                <a:moveTo>
                  <a:pt x="2511957" y="4869227"/>
                </a:moveTo>
                <a:cubicBezTo>
                  <a:pt x="2509647" y="4869227"/>
                  <a:pt x="2508383" y="4870674"/>
                  <a:pt x="2507899" y="4873181"/>
                </a:cubicBezTo>
                <a:lnTo>
                  <a:pt x="2496591" y="4930786"/>
                </a:lnTo>
                <a:lnTo>
                  <a:pt x="2508544" y="4930786"/>
                </a:lnTo>
                <a:cubicBezTo>
                  <a:pt x="2511048" y="4930786"/>
                  <a:pt x="2512449" y="4929541"/>
                  <a:pt x="2512899" y="4927245"/>
                </a:cubicBezTo>
                <a:lnTo>
                  <a:pt x="2521363" y="4884133"/>
                </a:lnTo>
                <a:lnTo>
                  <a:pt x="2535099" y="4903548"/>
                </a:lnTo>
                <a:cubicBezTo>
                  <a:pt x="2535753" y="4904729"/>
                  <a:pt x="2537016" y="4905453"/>
                  <a:pt x="2538376" y="4905424"/>
                </a:cubicBezTo>
                <a:lnTo>
                  <a:pt x="2544556" y="4905424"/>
                </a:lnTo>
                <a:cubicBezTo>
                  <a:pt x="2546096" y="4905356"/>
                  <a:pt x="2547545" y="4904680"/>
                  <a:pt x="2548580" y="4903548"/>
                </a:cubicBezTo>
                <a:lnTo>
                  <a:pt x="2569922" y="4884133"/>
                </a:lnTo>
                <a:lnTo>
                  <a:pt x="2561458" y="4927245"/>
                </a:lnTo>
                <a:cubicBezTo>
                  <a:pt x="2561009" y="4929541"/>
                  <a:pt x="2561917" y="4930786"/>
                  <a:pt x="2564430" y="4930786"/>
                </a:cubicBezTo>
                <a:lnTo>
                  <a:pt x="2576374" y="4930786"/>
                </a:lnTo>
                <a:lnTo>
                  <a:pt x="2587691" y="4873189"/>
                </a:lnTo>
                <a:cubicBezTo>
                  <a:pt x="2588166" y="4870674"/>
                  <a:pt x="2587504" y="4869227"/>
                  <a:pt x="2585186" y="4869227"/>
                </a:cubicBezTo>
                <a:lnTo>
                  <a:pt x="2571111" y="4869227"/>
                </a:lnTo>
                <a:lnTo>
                  <a:pt x="2543860" y="4893226"/>
                </a:lnTo>
                <a:lnTo>
                  <a:pt x="2526032" y="4869227"/>
                </a:lnTo>
                <a:close/>
                <a:moveTo>
                  <a:pt x="2441121" y="4869227"/>
                </a:moveTo>
                <a:cubicBezTo>
                  <a:pt x="2438421" y="4869227"/>
                  <a:pt x="2436825" y="4870464"/>
                  <a:pt x="2436290" y="4873181"/>
                </a:cubicBezTo>
                <a:lnTo>
                  <a:pt x="2424999" y="4930786"/>
                </a:lnTo>
                <a:lnTo>
                  <a:pt x="2482413" y="4930786"/>
                </a:lnTo>
                <a:lnTo>
                  <a:pt x="2483627" y="4924629"/>
                </a:lnTo>
                <a:cubicBezTo>
                  <a:pt x="2484128" y="4922122"/>
                  <a:pt x="2483509" y="4921281"/>
                  <a:pt x="2480614" y="4921281"/>
                </a:cubicBezTo>
                <a:lnTo>
                  <a:pt x="2442471" y="4921281"/>
                </a:lnTo>
                <a:lnTo>
                  <a:pt x="2445705" y="4904759"/>
                </a:lnTo>
                <a:lnTo>
                  <a:pt x="2479425" y="4904759"/>
                </a:lnTo>
                <a:cubicBezTo>
                  <a:pt x="2480317" y="4904786"/>
                  <a:pt x="2481096" y="4904165"/>
                  <a:pt x="2481259" y="4903296"/>
                </a:cubicBezTo>
                <a:lnTo>
                  <a:pt x="2482549" y="4896743"/>
                </a:lnTo>
                <a:cubicBezTo>
                  <a:pt x="2482702" y="4895918"/>
                  <a:pt x="2482252" y="4895279"/>
                  <a:pt x="2481293" y="4895279"/>
                </a:cubicBezTo>
                <a:lnTo>
                  <a:pt x="2447564" y="4895279"/>
                </a:lnTo>
                <a:lnTo>
                  <a:pt x="2450807" y="4878791"/>
                </a:lnTo>
                <a:lnTo>
                  <a:pt x="2487617" y="4878791"/>
                </a:lnTo>
                <a:cubicBezTo>
                  <a:pt x="2489349" y="4878791"/>
                  <a:pt x="2491073" y="4878791"/>
                  <a:pt x="2491540" y="4876487"/>
                </a:cubicBezTo>
                <a:lnTo>
                  <a:pt x="2492949" y="4869227"/>
                </a:lnTo>
                <a:close/>
                <a:moveTo>
                  <a:pt x="2368044" y="4869227"/>
                </a:moveTo>
                <a:cubicBezTo>
                  <a:pt x="2364962" y="4869227"/>
                  <a:pt x="2363205" y="4870262"/>
                  <a:pt x="2362764" y="4872558"/>
                </a:cubicBezTo>
                <a:lnTo>
                  <a:pt x="2361533" y="4878766"/>
                </a:lnTo>
                <a:lnTo>
                  <a:pt x="2385999" y="4878766"/>
                </a:lnTo>
                <a:lnTo>
                  <a:pt x="2375812" y="4930786"/>
                </a:lnTo>
                <a:lnTo>
                  <a:pt x="2386780" y="4930786"/>
                </a:lnTo>
                <a:cubicBezTo>
                  <a:pt x="2389862" y="4930786"/>
                  <a:pt x="2391645" y="4929541"/>
                  <a:pt x="2392281" y="4926412"/>
                </a:cubicBezTo>
                <a:lnTo>
                  <a:pt x="2401620" y="4878766"/>
                </a:lnTo>
                <a:lnTo>
                  <a:pt x="2422045" y="4878766"/>
                </a:lnTo>
                <a:cubicBezTo>
                  <a:pt x="2424932" y="4878766"/>
                  <a:pt x="2425950" y="4877513"/>
                  <a:pt x="2426443" y="4874998"/>
                </a:cubicBezTo>
                <a:lnTo>
                  <a:pt x="2426443" y="4875006"/>
                </a:lnTo>
                <a:lnTo>
                  <a:pt x="2427580" y="4869227"/>
                </a:lnTo>
                <a:close/>
                <a:moveTo>
                  <a:pt x="2216737" y="4869227"/>
                </a:moveTo>
                <a:cubicBezTo>
                  <a:pt x="2215192" y="4869227"/>
                  <a:pt x="2214029" y="4870253"/>
                  <a:pt x="2213825" y="4871305"/>
                </a:cubicBezTo>
                <a:lnTo>
                  <a:pt x="2210514" y="4888213"/>
                </a:lnTo>
                <a:cubicBezTo>
                  <a:pt x="2204207" y="4920364"/>
                  <a:pt x="2234930" y="4915973"/>
                  <a:pt x="2254821" y="4909924"/>
                </a:cubicBezTo>
                <a:lnTo>
                  <a:pt x="2250720" y="4930786"/>
                </a:lnTo>
                <a:lnTo>
                  <a:pt x="2261697" y="4930786"/>
                </a:lnTo>
                <a:cubicBezTo>
                  <a:pt x="2264787" y="4930786"/>
                  <a:pt x="2266570" y="4929541"/>
                  <a:pt x="2267198" y="4926412"/>
                </a:cubicBezTo>
                <a:lnTo>
                  <a:pt x="2278404" y="4869227"/>
                </a:lnTo>
                <a:lnTo>
                  <a:pt x="2265110" y="4869227"/>
                </a:lnTo>
                <a:cubicBezTo>
                  <a:pt x="2263768" y="4869227"/>
                  <a:pt x="2262597" y="4870253"/>
                  <a:pt x="2262402" y="4871305"/>
                </a:cubicBezTo>
                <a:lnTo>
                  <a:pt x="2256883" y="4899334"/>
                </a:lnTo>
                <a:cubicBezTo>
                  <a:pt x="2247265" y="4902261"/>
                  <a:pt x="2222315" y="4907628"/>
                  <a:pt x="2226203" y="4887801"/>
                </a:cubicBezTo>
                <a:lnTo>
                  <a:pt x="2229853" y="4869227"/>
                </a:lnTo>
                <a:close/>
                <a:moveTo>
                  <a:pt x="2702459" y="4869050"/>
                </a:moveTo>
                <a:cubicBezTo>
                  <a:pt x="2686049" y="4869050"/>
                  <a:pt x="2676201" y="4869151"/>
                  <a:pt x="2673697" y="4880810"/>
                </a:cubicBezTo>
                <a:cubicBezTo>
                  <a:pt x="2671846" y="4889475"/>
                  <a:pt x="2678689" y="4893664"/>
                  <a:pt x="2692561" y="4902211"/>
                </a:cubicBezTo>
                <a:cubicBezTo>
                  <a:pt x="2707774" y="4911548"/>
                  <a:pt x="2711246" y="4912263"/>
                  <a:pt x="2709828" y="4917184"/>
                </a:cubicBezTo>
                <a:cubicBezTo>
                  <a:pt x="2708724" y="4921154"/>
                  <a:pt x="2704734" y="4921314"/>
                  <a:pt x="2697900" y="4921314"/>
                </a:cubicBezTo>
                <a:lnTo>
                  <a:pt x="2670828" y="4921314"/>
                </a:lnTo>
                <a:cubicBezTo>
                  <a:pt x="2667754" y="4921314"/>
                  <a:pt x="2665963" y="4922576"/>
                  <a:pt x="2665428" y="4925293"/>
                </a:cubicBezTo>
                <a:lnTo>
                  <a:pt x="2664359" y="4930786"/>
                </a:lnTo>
                <a:lnTo>
                  <a:pt x="2698486" y="4930786"/>
                </a:lnTo>
                <a:cubicBezTo>
                  <a:pt x="2714098" y="4930786"/>
                  <a:pt x="2723878" y="4929827"/>
                  <a:pt x="2727435" y="4920372"/>
                </a:cubicBezTo>
                <a:cubicBezTo>
                  <a:pt x="2729175" y="4915762"/>
                  <a:pt x="2729150" y="4910993"/>
                  <a:pt x="2724931" y="4906282"/>
                </a:cubicBezTo>
                <a:cubicBezTo>
                  <a:pt x="2722791" y="4903885"/>
                  <a:pt x="2719616" y="4901773"/>
                  <a:pt x="2715236" y="4899334"/>
                </a:cubicBezTo>
                <a:cubicBezTo>
                  <a:pt x="2695744" y="4888406"/>
                  <a:pt x="2690642" y="4887145"/>
                  <a:pt x="2691890" y="4881853"/>
                </a:cubicBezTo>
                <a:cubicBezTo>
                  <a:pt x="2692569" y="4878876"/>
                  <a:pt x="2694657" y="4878766"/>
                  <a:pt x="2701992" y="4878766"/>
                </a:cubicBezTo>
                <a:lnTo>
                  <a:pt x="2724880" y="4878766"/>
                </a:lnTo>
                <a:cubicBezTo>
                  <a:pt x="2727953" y="4878766"/>
                  <a:pt x="2729736" y="4877513"/>
                  <a:pt x="2730271" y="4874796"/>
                </a:cubicBezTo>
                <a:lnTo>
                  <a:pt x="2731408" y="4869050"/>
                </a:lnTo>
                <a:close/>
                <a:moveTo>
                  <a:pt x="2321030" y="4869050"/>
                </a:moveTo>
                <a:cubicBezTo>
                  <a:pt x="2304628" y="4869050"/>
                  <a:pt x="2294789" y="4869151"/>
                  <a:pt x="2292284" y="4880810"/>
                </a:cubicBezTo>
                <a:cubicBezTo>
                  <a:pt x="2290434" y="4889475"/>
                  <a:pt x="2297268" y="4893664"/>
                  <a:pt x="2311156" y="4902211"/>
                </a:cubicBezTo>
                <a:cubicBezTo>
                  <a:pt x="2326361" y="4911548"/>
                  <a:pt x="2329833" y="4912263"/>
                  <a:pt x="2328424" y="4917184"/>
                </a:cubicBezTo>
                <a:cubicBezTo>
                  <a:pt x="2327295" y="4921154"/>
                  <a:pt x="2323313" y="4921314"/>
                  <a:pt x="2316479" y="4921314"/>
                </a:cubicBezTo>
                <a:lnTo>
                  <a:pt x="2289415" y="4921314"/>
                </a:lnTo>
                <a:cubicBezTo>
                  <a:pt x="2286342" y="4921314"/>
                  <a:pt x="2284551" y="4922576"/>
                  <a:pt x="2284016" y="4925293"/>
                </a:cubicBezTo>
                <a:lnTo>
                  <a:pt x="2282938" y="4930786"/>
                </a:lnTo>
                <a:lnTo>
                  <a:pt x="2317065" y="4930786"/>
                </a:lnTo>
                <a:cubicBezTo>
                  <a:pt x="2332686" y="4930786"/>
                  <a:pt x="2342465" y="4929827"/>
                  <a:pt x="2346014" y="4920372"/>
                </a:cubicBezTo>
                <a:cubicBezTo>
                  <a:pt x="2347763" y="4915762"/>
                  <a:pt x="2347746" y="4910993"/>
                  <a:pt x="2343526" y="4906282"/>
                </a:cubicBezTo>
                <a:cubicBezTo>
                  <a:pt x="2341370" y="4903885"/>
                  <a:pt x="2338212" y="4901773"/>
                  <a:pt x="2333823" y="4899334"/>
                </a:cubicBezTo>
                <a:cubicBezTo>
                  <a:pt x="2314323" y="4888406"/>
                  <a:pt x="2309238" y="4887145"/>
                  <a:pt x="2310469" y="4881853"/>
                </a:cubicBezTo>
                <a:cubicBezTo>
                  <a:pt x="2311148" y="4878876"/>
                  <a:pt x="2313228" y="4878766"/>
                  <a:pt x="2320571" y="4878766"/>
                </a:cubicBezTo>
                <a:lnTo>
                  <a:pt x="2343467" y="4878766"/>
                </a:lnTo>
                <a:cubicBezTo>
                  <a:pt x="2346532" y="4878766"/>
                  <a:pt x="2348332" y="4877513"/>
                  <a:pt x="2348858" y="4874796"/>
                </a:cubicBezTo>
                <a:lnTo>
                  <a:pt x="2349995" y="4869050"/>
                </a:lnTo>
                <a:close/>
                <a:moveTo>
                  <a:pt x="2170529" y="4869050"/>
                </a:moveTo>
                <a:cubicBezTo>
                  <a:pt x="2154128" y="4869050"/>
                  <a:pt x="2144280" y="4869151"/>
                  <a:pt x="2141784" y="4880810"/>
                </a:cubicBezTo>
                <a:cubicBezTo>
                  <a:pt x="2139916" y="4889475"/>
                  <a:pt x="2146767" y="4893664"/>
                  <a:pt x="2160664" y="4902211"/>
                </a:cubicBezTo>
                <a:cubicBezTo>
                  <a:pt x="2175852" y="4911548"/>
                  <a:pt x="2179324" y="4912263"/>
                  <a:pt x="2177923" y="4917184"/>
                </a:cubicBezTo>
                <a:cubicBezTo>
                  <a:pt x="2176803" y="4921154"/>
                  <a:pt x="2172821" y="4921314"/>
                  <a:pt x="2165979" y="4921314"/>
                </a:cubicBezTo>
                <a:lnTo>
                  <a:pt x="2138906" y="4921314"/>
                </a:lnTo>
                <a:cubicBezTo>
                  <a:pt x="2135833" y="4921314"/>
                  <a:pt x="2134050" y="4922576"/>
                  <a:pt x="2133515" y="4925293"/>
                </a:cubicBezTo>
                <a:lnTo>
                  <a:pt x="2132429" y="4930786"/>
                </a:lnTo>
                <a:lnTo>
                  <a:pt x="2166556" y="4930786"/>
                </a:lnTo>
                <a:cubicBezTo>
                  <a:pt x="2182177" y="4930786"/>
                  <a:pt x="2191965" y="4929827"/>
                  <a:pt x="2195522" y="4920372"/>
                </a:cubicBezTo>
                <a:cubicBezTo>
                  <a:pt x="2197245" y="4915762"/>
                  <a:pt x="2197228" y="4910993"/>
                  <a:pt x="2193018" y="4906282"/>
                </a:cubicBezTo>
                <a:cubicBezTo>
                  <a:pt x="2190870" y="4903885"/>
                  <a:pt x="2187695" y="4901773"/>
                  <a:pt x="2183331" y="4899334"/>
                </a:cubicBezTo>
                <a:cubicBezTo>
                  <a:pt x="2163822" y="4888406"/>
                  <a:pt x="2158729" y="4887145"/>
                  <a:pt x="2159960" y="4881853"/>
                </a:cubicBezTo>
                <a:cubicBezTo>
                  <a:pt x="2160656" y="4878876"/>
                  <a:pt x="2162736" y="4878766"/>
                  <a:pt x="2170062" y="4878766"/>
                </a:cubicBezTo>
                <a:lnTo>
                  <a:pt x="2192950" y="4878766"/>
                </a:lnTo>
                <a:cubicBezTo>
                  <a:pt x="2196031" y="4878766"/>
                  <a:pt x="2197823" y="4877513"/>
                  <a:pt x="2198357" y="4874796"/>
                </a:cubicBezTo>
                <a:lnTo>
                  <a:pt x="2199478" y="4869050"/>
                </a:lnTo>
                <a:close/>
                <a:moveTo>
                  <a:pt x="1923012" y="4818696"/>
                </a:moveTo>
                <a:cubicBezTo>
                  <a:pt x="1904963" y="4819756"/>
                  <a:pt x="1873917" y="4826091"/>
                  <a:pt x="1875097" y="4832400"/>
                </a:cubicBezTo>
                <a:cubicBezTo>
                  <a:pt x="1876184" y="4839230"/>
                  <a:pt x="1895845" y="4837127"/>
                  <a:pt x="1904844" y="4837127"/>
                </a:cubicBezTo>
                <a:cubicBezTo>
                  <a:pt x="1924633" y="4837127"/>
                  <a:pt x="1956061" y="4838465"/>
                  <a:pt x="1961010" y="4852572"/>
                </a:cubicBezTo>
                <a:cubicBezTo>
                  <a:pt x="1971681" y="4882956"/>
                  <a:pt x="1899301" y="4937516"/>
                  <a:pt x="1883875" y="4932276"/>
                </a:cubicBezTo>
                <a:cubicBezTo>
                  <a:pt x="1876897" y="4929903"/>
                  <a:pt x="1898053" y="4890249"/>
                  <a:pt x="1905736" y="4875982"/>
                </a:cubicBezTo>
                <a:cubicBezTo>
                  <a:pt x="1910303" y="4867469"/>
                  <a:pt x="1917256" y="4854094"/>
                  <a:pt x="1911313" y="4853186"/>
                </a:cubicBezTo>
                <a:cubicBezTo>
                  <a:pt x="1904691" y="4852185"/>
                  <a:pt x="1897374" y="4864769"/>
                  <a:pt x="1892636" y="4872029"/>
                </a:cubicBezTo>
                <a:cubicBezTo>
                  <a:pt x="1879767" y="4891755"/>
                  <a:pt x="1866565" y="4913290"/>
                  <a:pt x="1855996" y="4935413"/>
                </a:cubicBezTo>
                <a:cubicBezTo>
                  <a:pt x="1852728" y="4942244"/>
                  <a:pt x="1841870" y="4962828"/>
                  <a:pt x="1845605" y="4965486"/>
                </a:cubicBezTo>
                <a:cubicBezTo>
                  <a:pt x="1849086" y="4967959"/>
                  <a:pt x="1865623" y="4964435"/>
                  <a:pt x="1886677" y="4955215"/>
                </a:cubicBezTo>
                <a:cubicBezTo>
                  <a:pt x="1952869" y="4926219"/>
                  <a:pt x="1982667" y="4888483"/>
                  <a:pt x="1990647" y="4857299"/>
                </a:cubicBezTo>
                <a:cubicBezTo>
                  <a:pt x="1993191" y="4847710"/>
                  <a:pt x="1989677" y="4837545"/>
                  <a:pt x="1981733" y="4831516"/>
                </a:cubicBezTo>
                <a:cubicBezTo>
                  <a:pt x="1967904" y="4821026"/>
                  <a:pt x="1943284" y="4817519"/>
                  <a:pt x="1923012" y="4818696"/>
                </a:cubicBezTo>
                <a:close/>
                <a:moveTo>
                  <a:pt x="2505547" y="4793384"/>
                </a:moveTo>
                <a:cubicBezTo>
                  <a:pt x="2518867" y="4793384"/>
                  <a:pt x="2522348" y="4798339"/>
                  <a:pt x="2520191" y="4809729"/>
                </a:cubicBezTo>
                <a:cubicBezTo>
                  <a:pt x="2520191" y="4809729"/>
                  <a:pt x="2519648" y="4812572"/>
                  <a:pt x="2519453" y="4813430"/>
                </a:cubicBezTo>
                <a:cubicBezTo>
                  <a:pt x="2519190" y="4814709"/>
                  <a:pt x="2518604" y="4818015"/>
                  <a:pt x="2515157" y="4818015"/>
                </a:cubicBezTo>
                <a:lnTo>
                  <a:pt x="2481930" y="4818015"/>
                </a:lnTo>
                <a:lnTo>
                  <a:pt x="2483560" y="4809729"/>
                </a:lnTo>
                <a:cubicBezTo>
                  <a:pt x="2485903" y="4797733"/>
                  <a:pt x="2492949" y="4793384"/>
                  <a:pt x="2505547" y="4793384"/>
                </a:cubicBezTo>
                <a:close/>
                <a:moveTo>
                  <a:pt x="2277190" y="4793384"/>
                </a:moveTo>
                <a:cubicBezTo>
                  <a:pt x="2290502" y="4793384"/>
                  <a:pt x="2293999" y="4798339"/>
                  <a:pt x="2291826" y="4809729"/>
                </a:cubicBezTo>
                <a:cubicBezTo>
                  <a:pt x="2291826" y="4809729"/>
                  <a:pt x="2291283" y="4812572"/>
                  <a:pt x="2291096" y="4813430"/>
                </a:cubicBezTo>
                <a:cubicBezTo>
                  <a:pt x="2290841" y="4814709"/>
                  <a:pt x="2290247" y="4818015"/>
                  <a:pt x="2286792" y="4818015"/>
                </a:cubicBezTo>
                <a:lnTo>
                  <a:pt x="2253581" y="4818015"/>
                </a:lnTo>
                <a:lnTo>
                  <a:pt x="2255203" y="4809729"/>
                </a:lnTo>
                <a:cubicBezTo>
                  <a:pt x="2257529" y="4797733"/>
                  <a:pt x="2264592" y="4793384"/>
                  <a:pt x="2277190" y="4793384"/>
                </a:cubicBezTo>
                <a:close/>
                <a:moveTo>
                  <a:pt x="2040133" y="4783925"/>
                </a:moveTo>
                <a:cubicBezTo>
                  <a:pt x="2026282" y="4785814"/>
                  <a:pt x="2013467" y="4790924"/>
                  <a:pt x="2006938" y="4801897"/>
                </a:cubicBezTo>
                <a:cubicBezTo>
                  <a:pt x="1996853" y="4818856"/>
                  <a:pt x="2015920" y="4842073"/>
                  <a:pt x="2033272" y="4864567"/>
                </a:cubicBezTo>
                <a:cubicBezTo>
                  <a:pt x="2047186" y="4882594"/>
                  <a:pt x="2062340" y="4899813"/>
                  <a:pt x="2056151" y="4909865"/>
                </a:cubicBezTo>
                <a:cubicBezTo>
                  <a:pt x="2051108" y="4918084"/>
                  <a:pt x="2018738" y="4918067"/>
                  <a:pt x="2007592" y="4918715"/>
                </a:cubicBezTo>
                <a:cubicBezTo>
                  <a:pt x="1994051" y="4919514"/>
                  <a:pt x="1974568" y="4919556"/>
                  <a:pt x="1971155" y="4921575"/>
                </a:cubicBezTo>
                <a:cubicBezTo>
                  <a:pt x="1968099" y="4923384"/>
                  <a:pt x="1966401" y="4928994"/>
                  <a:pt x="1977862" y="4931232"/>
                </a:cubicBezTo>
                <a:cubicBezTo>
                  <a:pt x="1987056" y="4933049"/>
                  <a:pt x="2008958" y="4936717"/>
                  <a:pt x="2032084" y="4936700"/>
                </a:cubicBezTo>
                <a:cubicBezTo>
                  <a:pt x="2056219" y="4936691"/>
                  <a:pt x="2081568" y="4932359"/>
                  <a:pt x="2087061" y="4911876"/>
                </a:cubicBezTo>
                <a:cubicBezTo>
                  <a:pt x="2091476" y="4895422"/>
                  <a:pt x="2076169" y="4877790"/>
                  <a:pt x="2062696" y="4859915"/>
                </a:cubicBezTo>
                <a:cubicBezTo>
                  <a:pt x="2047942" y="4840332"/>
                  <a:pt x="2033017" y="4826376"/>
                  <a:pt x="2034274" y="4812505"/>
                </a:cubicBezTo>
                <a:cubicBezTo>
                  <a:pt x="2035242" y="4801729"/>
                  <a:pt x="2054538" y="4801106"/>
                  <a:pt x="2086543" y="4800492"/>
                </a:cubicBezTo>
                <a:cubicBezTo>
                  <a:pt x="2093216" y="4800349"/>
                  <a:pt x="2106459" y="4800004"/>
                  <a:pt x="2103913" y="4794234"/>
                </a:cubicBezTo>
                <a:cubicBezTo>
                  <a:pt x="2101629" y="4789153"/>
                  <a:pt x="2091713" y="4787462"/>
                  <a:pt x="2079548" y="4785283"/>
                </a:cubicBezTo>
                <a:cubicBezTo>
                  <a:pt x="2068873" y="4783370"/>
                  <a:pt x="2053985" y="4782037"/>
                  <a:pt x="2040133" y="4783925"/>
                </a:cubicBezTo>
                <a:close/>
                <a:moveTo>
                  <a:pt x="2693180" y="4783845"/>
                </a:moveTo>
                <a:cubicBezTo>
                  <a:pt x="2690099" y="4783845"/>
                  <a:pt x="2688367" y="4784888"/>
                  <a:pt x="2687908" y="4787193"/>
                </a:cubicBezTo>
                <a:lnTo>
                  <a:pt x="2686686" y="4793401"/>
                </a:lnTo>
                <a:lnTo>
                  <a:pt x="2711152" y="4793401"/>
                </a:lnTo>
                <a:lnTo>
                  <a:pt x="2700957" y="4845421"/>
                </a:lnTo>
                <a:lnTo>
                  <a:pt x="2711925" y="4845421"/>
                </a:lnTo>
                <a:cubicBezTo>
                  <a:pt x="2715015" y="4845421"/>
                  <a:pt x="2716806" y="4844168"/>
                  <a:pt x="2717418" y="4841047"/>
                </a:cubicBezTo>
                <a:lnTo>
                  <a:pt x="2726773" y="4793401"/>
                </a:lnTo>
                <a:lnTo>
                  <a:pt x="2747198" y="4793401"/>
                </a:lnTo>
                <a:cubicBezTo>
                  <a:pt x="2750085" y="4793401"/>
                  <a:pt x="2751104" y="4792139"/>
                  <a:pt x="2751613" y="4789632"/>
                </a:cubicBezTo>
                <a:lnTo>
                  <a:pt x="2752734" y="4783845"/>
                </a:lnTo>
                <a:close/>
                <a:moveTo>
                  <a:pt x="2642813" y="4783845"/>
                </a:moveTo>
                <a:lnTo>
                  <a:pt x="2630732" y="4845421"/>
                </a:lnTo>
                <a:lnTo>
                  <a:pt x="2683324" y="4845421"/>
                </a:lnTo>
                <a:lnTo>
                  <a:pt x="2684462" y="4839659"/>
                </a:lnTo>
                <a:cubicBezTo>
                  <a:pt x="2684996" y="4836967"/>
                  <a:pt x="2684037" y="4835915"/>
                  <a:pt x="2681541" y="4835915"/>
                </a:cubicBezTo>
                <a:lnTo>
                  <a:pt x="2648203" y="4835915"/>
                </a:lnTo>
                <a:lnTo>
                  <a:pt x="2658017" y="4785931"/>
                </a:lnTo>
                <a:cubicBezTo>
                  <a:pt x="2658212" y="4784888"/>
                  <a:pt x="2657448" y="4783845"/>
                  <a:pt x="2656107" y="4783845"/>
                </a:cubicBezTo>
                <a:close/>
                <a:moveTo>
                  <a:pt x="2559124" y="4783845"/>
                </a:moveTo>
                <a:cubicBezTo>
                  <a:pt x="2557511" y="4783845"/>
                  <a:pt x="2556000" y="4784476"/>
                  <a:pt x="2555592" y="4786579"/>
                </a:cubicBezTo>
                <a:lnTo>
                  <a:pt x="2549480" y="4817947"/>
                </a:lnTo>
                <a:cubicBezTo>
                  <a:pt x="2545312" y="4840062"/>
                  <a:pt x="2556416" y="4846800"/>
                  <a:pt x="2578361" y="4846800"/>
                </a:cubicBezTo>
                <a:lnTo>
                  <a:pt x="2578361" y="4846792"/>
                </a:lnTo>
                <a:cubicBezTo>
                  <a:pt x="2604067" y="4846792"/>
                  <a:pt x="2613974" y="4838077"/>
                  <a:pt x="2618040" y="4817939"/>
                </a:cubicBezTo>
                <a:lnTo>
                  <a:pt x="2624127" y="4786579"/>
                </a:lnTo>
                <a:cubicBezTo>
                  <a:pt x="2624535" y="4784476"/>
                  <a:pt x="2623270" y="4783845"/>
                  <a:pt x="2621665" y="4783845"/>
                </a:cubicBezTo>
                <a:lnTo>
                  <a:pt x="2609228" y="4783845"/>
                </a:lnTo>
                <a:lnTo>
                  <a:pt x="2605816" y="4801889"/>
                </a:lnTo>
                <a:lnTo>
                  <a:pt x="2603863" y="4811495"/>
                </a:lnTo>
                <a:lnTo>
                  <a:pt x="2602233" y="4819840"/>
                </a:lnTo>
                <a:cubicBezTo>
                  <a:pt x="2599958" y="4831205"/>
                  <a:pt x="2592530" y="4836328"/>
                  <a:pt x="2579940" y="4836328"/>
                </a:cubicBezTo>
                <a:cubicBezTo>
                  <a:pt x="2566094" y="4836328"/>
                  <a:pt x="2562384" y="4831331"/>
                  <a:pt x="2564557" y="4819840"/>
                </a:cubicBezTo>
                <a:cubicBezTo>
                  <a:pt x="2564557" y="4819840"/>
                  <a:pt x="2565092" y="4816971"/>
                  <a:pt x="2565270" y="4816113"/>
                </a:cubicBezTo>
                <a:lnTo>
                  <a:pt x="2568140" y="4801897"/>
                </a:lnTo>
                <a:lnTo>
                  <a:pt x="2571561" y="4783845"/>
                </a:lnTo>
                <a:close/>
                <a:moveTo>
                  <a:pt x="2155095" y="4783845"/>
                </a:moveTo>
                <a:lnTo>
                  <a:pt x="2154909" y="4784644"/>
                </a:lnTo>
                <a:cubicBezTo>
                  <a:pt x="2153907" y="4788783"/>
                  <a:pt x="2154433" y="4793359"/>
                  <a:pt x="2161471" y="4793359"/>
                </a:cubicBezTo>
                <a:lnTo>
                  <a:pt x="2193833" y="4793359"/>
                </a:lnTo>
                <a:cubicBezTo>
                  <a:pt x="2209402" y="4793359"/>
                  <a:pt x="2211626" y="4801073"/>
                  <a:pt x="2208519" y="4814658"/>
                </a:cubicBezTo>
                <a:cubicBezTo>
                  <a:pt x="2205463" y="4828000"/>
                  <a:pt x="2200140" y="4834864"/>
                  <a:pt x="2188450" y="4835915"/>
                </a:cubicBezTo>
                <a:lnTo>
                  <a:pt x="2166284" y="4835915"/>
                </a:lnTo>
                <a:lnTo>
                  <a:pt x="2173127" y="4800963"/>
                </a:lnTo>
                <a:lnTo>
                  <a:pt x="2160028" y="4800963"/>
                </a:lnTo>
                <a:cubicBezTo>
                  <a:pt x="2158483" y="4800963"/>
                  <a:pt x="2157320" y="4802006"/>
                  <a:pt x="2157116" y="4803050"/>
                </a:cubicBezTo>
                <a:lnTo>
                  <a:pt x="2148796" y="4845421"/>
                </a:lnTo>
                <a:lnTo>
                  <a:pt x="2185606" y="4845421"/>
                </a:lnTo>
                <a:cubicBezTo>
                  <a:pt x="2206227" y="4845421"/>
                  <a:pt x="2220515" y="4837833"/>
                  <a:pt x="2224980" y="4814238"/>
                </a:cubicBezTo>
                <a:cubicBezTo>
                  <a:pt x="2228300" y="4796673"/>
                  <a:pt x="2220625" y="4783845"/>
                  <a:pt x="2199614" y="4783845"/>
                </a:cubicBezTo>
                <a:close/>
                <a:moveTo>
                  <a:pt x="2423480" y="4783660"/>
                </a:moveTo>
                <a:cubicBezTo>
                  <a:pt x="2407078" y="4783660"/>
                  <a:pt x="2397231" y="4783761"/>
                  <a:pt x="2394718" y="4795437"/>
                </a:cubicBezTo>
                <a:cubicBezTo>
                  <a:pt x="2392876" y="4804093"/>
                  <a:pt x="2399718" y="4808290"/>
                  <a:pt x="2413598" y="4816837"/>
                </a:cubicBezTo>
                <a:cubicBezTo>
                  <a:pt x="2428794" y="4826174"/>
                  <a:pt x="2432266" y="4826881"/>
                  <a:pt x="2430874" y="4831819"/>
                </a:cubicBezTo>
                <a:cubicBezTo>
                  <a:pt x="2429745" y="4835789"/>
                  <a:pt x="2425764" y="4835941"/>
                  <a:pt x="2418930" y="4835941"/>
                </a:cubicBezTo>
                <a:lnTo>
                  <a:pt x="2391865" y="4835941"/>
                </a:lnTo>
                <a:cubicBezTo>
                  <a:pt x="2388784" y="4835941"/>
                  <a:pt x="2386992" y="4837202"/>
                  <a:pt x="2386458" y="4839919"/>
                </a:cubicBezTo>
                <a:lnTo>
                  <a:pt x="2385388" y="4845421"/>
                </a:lnTo>
                <a:lnTo>
                  <a:pt x="2419515" y="4845421"/>
                </a:lnTo>
                <a:cubicBezTo>
                  <a:pt x="2435119" y="4845421"/>
                  <a:pt x="2444924" y="4844470"/>
                  <a:pt x="2448473" y="4834998"/>
                </a:cubicBezTo>
                <a:lnTo>
                  <a:pt x="2448481" y="4834998"/>
                </a:lnTo>
                <a:cubicBezTo>
                  <a:pt x="2450213" y="4830380"/>
                  <a:pt x="2450196" y="4825611"/>
                  <a:pt x="2445977" y="4820908"/>
                </a:cubicBezTo>
                <a:cubicBezTo>
                  <a:pt x="2443829" y="4818502"/>
                  <a:pt x="2440662" y="4816408"/>
                  <a:pt x="2436282" y="4813943"/>
                </a:cubicBezTo>
                <a:cubicBezTo>
                  <a:pt x="2416782" y="4803016"/>
                  <a:pt x="2411688" y="4801771"/>
                  <a:pt x="2412911" y="4796480"/>
                </a:cubicBezTo>
                <a:cubicBezTo>
                  <a:pt x="2413607" y="4793510"/>
                  <a:pt x="2415695" y="4793384"/>
                  <a:pt x="2423038" y="4793384"/>
                </a:cubicBezTo>
                <a:lnTo>
                  <a:pt x="2445909" y="4793384"/>
                </a:lnTo>
                <a:cubicBezTo>
                  <a:pt x="2448991" y="4793384"/>
                  <a:pt x="2450782" y="4792139"/>
                  <a:pt x="2451317" y="4789430"/>
                </a:cubicBezTo>
                <a:lnTo>
                  <a:pt x="2452446" y="4783660"/>
                </a:lnTo>
                <a:close/>
                <a:moveTo>
                  <a:pt x="2350776" y="4783660"/>
                </a:moveTo>
                <a:cubicBezTo>
                  <a:pt x="2334375" y="4783660"/>
                  <a:pt x="2324536" y="4783761"/>
                  <a:pt x="2322031" y="4795437"/>
                </a:cubicBezTo>
                <a:cubicBezTo>
                  <a:pt x="2320172" y="4804093"/>
                  <a:pt x="2327023" y="4808290"/>
                  <a:pt x="2340903" y="4816837"/>
                </a:cubicBezTo>
                <a:cubicBezTo>
                  <a:pt x="2356099" y="4826174"/>
                  <a:pt x="2359580" y="4826881"/>
                  <a:pt x="2358179" y="4831819"/>
                </a:cubicBezTo>
                <a:cubicBezTo>
                  <a:pt x="2357059" y="4835789"/>
                  <a:pt x="2353069" y="4835941"/>
                  <a:pt x="2346218" y="4835941"/>
                </a:cubicBezTo>
                <a:lnTo>
                  <a:pt x="2319179" y="4835941"/>
                </a:lnTo>
                <a:cubicBezTo>
                  <a:pt x="2316089" y="4835941"/>
                  <a:pt x="2314306" y="4837202"/>
                  <a:pt x="2313763" y="4839919"/>
                </a:cubicBezTo>
                <a:lnTo>
                  <a:pt x="2312684" y="4845421"/>
                </a:lnTo>
                <a:lnTo>
                  <a:pt x="2346812" y="4845421"/>
                </a:lnTo>
                <a:cubicBezTo>
                  <a:pt x="2362432" y="4845421"/>
                  <a:pt x="2372221" y="4844470"/>
                  <a:pt x="2375778" y="4834998"/>
                </a:cubicBezTo>
                <a:cubicBezTo>
                  <a:pt x="2377501" y="4830380"/>
                  <a:pt x="2377484" y="4825611"/>
                  <a:pt x="2373273" y="4820908"/>
                </a:cubicBezTo>
                <a:cubicBezTo>
                  <a:pt x="2371117" y="4818502"/>
                  <a:pt x="2367951" y="4816408"/>
                  <a:pt x="2363579" y="4813943"/>
                </a:cubicBezTo>
                <a:cubicBezTo>
                  <a:pt x="2344061" y="4803016"/>
                  <a:pt x="2338985" y="4801771"/>
                  <a:pt x="2340216" y="4796480"/>
                </a:cubicBezTo>
                <a:cubicBezTo>
                  <a:pt x="2340895" y="4793510"/>
                  <a:pt x="2342975" y="4793384"/>
                  <a:pt x="2350335" y="4793384"/>
                </a:cubicBezTo>
                <a:lnTo>
                  <a:pt x="2373197" y="4793384"/>
                </a:lnTo>
                <a:cubicBezTo>
                  <a:pt x="2376287" y="4793384"/>
                  <a:pt x="2378078" y="4792139"/>
                  <a:pt x="2378596" y="4789430"/>
                </a:cubicBezTo>
                <a:lnTo>
                  <a:pt x="2379742" y="4783660"/>
                </a:lnTo>
                <a:close/>
                <a:moveTo>
                  <a:pt x="2507381" y="4783012"/>
                </a:moveTo>
                <a:cubicBezTo>
                  <a:pt x="2485665" y="4783012"/>
                  <a:pt x="2473279" y="4788413"/>
                  <a:pt x="2468542" y="4811613"/>
                </a:cubicBezTo>
                <a:lnTo>
                  <a:pt x="2462446" y="4842704"/>
                </a:lnTo>
                <a:cubicBezTo>
                  <a:pt x="2462039" y="4844790"/>
                  <a:pt x="2463253" y="4845421"/>
                  <a:pt x="2464806" y="4845421"/>
                </a:cubicBezTo>
                <a:lnTo>
                  <a:pt x="2476556" y="4845421"/>
                </a:lnTo>
                <a:lnTo>
                  <a:pt x="2479985" y="4827520"/>
                </a:lnTo>
                <a:lnTo>
                  <a:pt x="2516592" y="4827520"/>
                </a:lnTo>
                <a:lnTo>
                  <a:pt x="2513171" y="4845421"/>
                </a:lnTo>
                <a:lnTo>
                  <a:pt x="2524928" y="4845421"/>
                </a:lnTo>
                <a:cubicBezTo>
                  <a:pt x="2526474" y="4845421"/>
                  <a:pt x="2527942" y="4844790"/>
                  <a:pt x="2528350" y="4842704"/>
                </a:cubicBezTo>
                <a:lnTo>
                  <a:pt x="2534454" y="4811613"/>
                </a:lnTo>
                <a:cubicBezTo>
                  <a:pt x="2538953" y="4788026"/>
                  <a:pt x="2525506" y="4783012"/>
                  <a:pt x="2507381" y="4783012"/>
                </a:cubicBezTo>
                <a:close/>
                <a:moveTo>
                  <a:pt x="2279015" y="4783012"/>
                </a:moveTo>
                <a:cubicBezTo>
                  <a:pt x="2257308" y="4783012"/>
                  <a:pt x="2244922" y="4788413"/>
                  <a:pt x="2240193" y="4811613"/>
                </a:cubicBezTo>
                <a:lnTo>
                  <a:pt x="2234081" y="4842704"/>
                </a:lnTo>
                <a:cubicBezTo>
                  <a:pt x="2233682" y="4844790"/>
                  <a:pt x="2234896" y="4845421"/>
                  <a:pt x="2236449" y="4845421"/>
                </a:cubicBezTo>
                <a:lnTo>
                  <a:pt x="2248199" y="4845421"/>
                </a:lnTo>
                <a:lnTo>
                  <a:pt x="2251620" y="4827520"/>
                </a:lnTo>
                <a:lnTo>
                  <a:pt x="2288235" y="4827520"/>
                </a:lnTo>
                <a:lnTo>
                  <a:pt x="2284814" y="4845421"/>
                </a:lnTo>
                <a:lnTo>
                  <a:pt x="2296572" y="4845421"/>
                </a:lnTo>
                <a:cubicBezTo>
                  <a:pt x="2298117" y="4845421"/>
                  <a:pt x="2299585" y="4844790"/>
                  <a:pt x="2299984" y="4842704"/>
                </a:cubicBezTo>
                <a:lnTo>
                  <a:pt x="2306097" y="4811613"/>
                </a:lnTo>
                <a:cubicBezTo>
                  <a:pt x="2310588" y="4788026"/>
                  <a:pt x="2297140" y="4783012"/>
                  <a:pt x="2279015" y="4783012"/>
                </a:cubicBezTo>
                <a:close/>
                <a:moveTo>
                  <a:pt x="1973014" y="4694493"/>
                </a:moveTo>
                <a:lnTo>
                  <a:pt x="1973014" y="4694501"/>
                </a:lnTo>
                <a:cubicBezTo>
                  <a:pt x="1949550" y="4695595"/>
                  <a:pt x="1928148" y="4701542"/>
                  <a:pt x="1929481" y="4706110"/>
                </a:cubicBezTo>
                <a:cubicBezTo>
                  <a:pt x="1931119" y="4711670"/>
                  <a:pt x="1947062" y="4710282"/>
                  <a:pt x="1953132" y="4710282"/>
                </a:cubicBezTo>
                <a:cubicBezTo>
                  <a:pt x="1975485" y="4710282"/>
                  <a:pt x="1997014" y="4714623"/>
                  <a:pt x="2002150" y="4720881"/>
                </a:cubicBezTo>
                <a:cubicBezTo>
                  <a:pt x="2010173" y="4730656"/>
                  <a:pt x="1996360" y="4754765"/>
                  <a:pt x="1953896" y="4787631"/>
                </a:cubicBezTo>
                <a:cubicBezTo>
                  <a:pt x="1945755" y="4793931"/>
                  <a:pt x="1939676" y="4799736"/>
                  <a:pt x="1938327" y="4802587"/>
                </a:cubicBezTo>
                <a:cubicBezTo>
                  <a:pt x="1937605" y="4804101"/>
                  <a:pt x="1937945" y="4806305"/>
                  <a:pt x="1940177" y="4806608"/>
                </a:cubicBezTo>
                <a:cubicBezTo>
                  <a:pt x="1942512" y="4806936"/>
                  <a:pt x="1948115" y="4805632"/>
                  <a:pt x="1957360" y="4800880"/>
                </a:cubicBezTo>
                <a:cubicBezTo>
                  <a:pt x="1995087" y="4781490"/>
                  <a:pt x="2038374" y="4741995"/>
                  <a:pt x="2029834" y="4714909"/>
                </a:cubicBezTo>
                <a:cubicBezTo>
                  <a:pt x="2024630" y="4698379"/>
                  <a:pt x="1996657" y="4693391"/>
                  <a:pt x="1973014" y="4694493"/>
                </a:cubicBezTo>
                <a:close/>
                <a:moveTo>
                  <a:pt x="460601" y="0"/>
                </a:moveTo>
                <a:lnTo>
                  <a:pt x="3086100" y="0"/>
                </a:lnTo>
                <a:lnTo>
                  <a:pt x="3086100" y="842036"/>
                </a:lnTo>
                <a:lnTo>
                  <a:pt x="3086100" y="1941749"/>
                </a:lnTo>
                <a:lnTo>
                  <a:pt x="3086100" y="3201749"/>
                </a:lnTo>
                <a:lnTo>
                  <a:pt x="3086100" y="3743118"/>
                </a:lnTo>
                <a:lnTo>
                  <a:pt x="3086100" y="5143499"/>
                </a:lnTo>
                <a:lnTo>
                  <a:pt x="547192" y="5143499"/>
                </a:lnTo>
                <a:lnTo>
                  <a:pt x="451948" y="4947929"/>
                </a:lnTo>
                <a:cubicBezTo>
                  <a:pt x="172711" y="4317060"/>
                  <a:pt x="0" y="3445523"/>
                  <a:pt x="0" y="2482849"/>
                </a:cubicBezTo>
                <a:cubicBezTo>
                  <a:pt x="0" y="1520175"/>
                  <a:pt x="172711" y="648637"/>
                  <a:pt x="451948" y="17768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noProof="0"/>
              <a:t>Insert image</a:t>
            </a:r>
          </a:p>
        </p:txBody>
      </p:sp>
      <p:sp>
        <p:nvSpPr>
          <p:cNvPr id="11" name="ZoneTexte 7">
            <a:extLst>
              <a:ext uri="{FF2B5EF4-FFF2-40B4-BE49-F238E27FC236}">
                <a16:creationId xmlns:a16="http://schemas.microsoft.com/office/drawing/2014/main" id="{D5E28100-23B4-0C41-9F0D-D979777516FC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B8C03A33-7651-F14B-9E61-1FD1CCA71A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905" y="988138"/>
            <a:ext cx="5619052" cy="24622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kern="900" spc="0" baseline="0">
                <a:solidFill>
                  <a:schemeClr val="tx1"/>
                </a:solidFill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is is the slide subtitle</a:t>
            </a:r>
          </a:p>
        </p:txBody>
      </p:sp>
      <p:cxnSp>
        <p:nvCxnSpPr>
          <p:cNvPr id="15" name="Connecteur droit 8">
            <a:extLst>
              <a:ext uri="{FF2B5EF4-FFF2-40B4-BE49-F238E27FC236}">
                <a16:creationId xmlns:a16="http://schemas.microsoft.com/office/drawing/2014/main" id="{76E86959-47EF-40FD-8178-D84F5E7A0589}"/>
              </a:ext>
            </a:extLst>
          </p:cNvPr>
          <p:cNvCxnSpPr>
            <a:cxnSpLocks/>
          </p:cNvCxnSpPr>
          <p:nvPr/>
        </p:nvCxnSpPr>
        <p:spPr>
          <a:xfrm>
            <a:off x="177217" y="321750"/>
            <a:ext cx="0" cy="45000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Graphic 24">
            <a:extLst>
              <a:ext uri="{FF2B5EF4-FFF2-40B4-BE49-F238E27FC236}">
                <a16:creationId xmlns:a16="http://schemas.microsoft.com/office/drawing/2014/main" id="{4BA3E254-0FAD-4923-8423-37B7665EFF7B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01468" y="4691064"/>
            <a:ext cx="908368" cy="277597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07954AF9-FA7A-16D9-2855-F7E07D5D30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937" y="312223"/>
            <a:ext cx="5619600" cy="64633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lang="en-US" sz="2000" b="0" i="0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SLIDE TITLE</a:t>
            </a:r>
            <a:br>
              <a:rPr lang="en-US" noProof="0" dirty="0"/>
            </a:br>
            <a:r>
              <a:rPr lang="en-US" noProof="0" dirty="0"/>
              <a:t>IN 2 LINES</a:t>
            </a:r>
          </a:p>
        </p:txBody>
      </p:sp>
      <p:sp>
        <p:nvSpPr>
          <p:cNvPr id="6" name="Footer Placeholder 12">
            <a:extLst>
              <a:ext uri="{FF2B5EF4-FFF2-40B4-BE49-F238E27FC236}">
                <a16:creationId xmlns:a16="http://schemas.microsoft.com/office/drawing/2014/main" id="{D2522F7C-D390-360E-3E16-8D2993EFEF25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</p:spTree>
    <p:extLst>
      <p:ext uri="{BB962C8B-B14F-4D97-AF65-F5344CB8AC3E}">
        <p14:creationId xmlns:p14="http://schemas.microsoft.com/office/powerpoint/2010/main" val="23517367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- 2 lines title V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DCC0A36F-4386-43D8-9878-1990319145E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2907" y="1525675"/>
            <a:ext cx="3998590" cy="3046326"/>
          </a:xfrm>
          <a:custGeom>
            <a:avLst/>
            <a:gdLst>
              <a:gd name="connsiteX0" fmla="*/ 0 w 5619003"/>
              <a:gd name="connsiteY0" fmla="*/ 0 h 3046326"/>
              <a:gd name="connsiteX1" fmla="*/ 5619003 w 5619003"/>
              <a:gd name="connsiteY1" fmla="*/ 0 h 3046326"/>
              <a:gd name="connsiteX2" fmla="*/ 5619003 w 5619003"/>
              <a:gd name="connsiteY2" fmla="*/ 3046326 h 3046326"/>
              <a:gd name="connsiteX3" fmla="*/ 0 w 5619003"/>
              <a:gd name="connsiteY3" fmla="*/ 3046326 h 3046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19003" h="3046326">
                <a:moveTo>
                  <a:pt x="0" y="0"/>
                </a:moveTo>
                <a:lnTo>
                  <a:pt x="5619003" y="0"/>
                </a:lnTo>
                <a:lnTo>
                  <a:pt x="5619003" y="3046326"/>
                </a:lnTo>
                <a:lnTo>
                  <a:pt x="0" y="3046326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>
            <a:lvl1pPr marL="172796" indent="-172796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200"/>
            </a:lvl1pPr>
            <a:lvl2pPr marL="345591" indent="-172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Char char="-"/>
              <a:defRPr sz="1100"/>
            </a:lvl2pPr>
            <a:lvl3pPr marL="518387" indent="-172796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Char char="▪"/>
              <a:defRPr sz="1000"/>
            </a:lvl3pPr>
            <a:lvl4pPr marL="691183" indent="-17279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800"/>
            </a:lvl4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11" name="ZoneTexte 7">
            <a:extLst>
              <a:ext uri="{FF2B5EF4-FFF2-40B4-BE49-F238E27FC236}">
                <a16:creationId xmlns:a16="http://schemas.microsoft.com/office/drawing/2014/main" id="{D5E28100-23B4-0C41-9F0D-D979777516FC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B8C03A33-7651-F14B-9E61-1FD1CCA71A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905" y="988138"/>
            <a:ext cx="8377338" cy="2308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kern="900" spc="0" baseline="0">
                <a:solidFill>
                  <a:schemeClr val="tx1"/>
                </a:solidFill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is is the slide subtitle</a:t>
            </a:r>
          </a:p>
        </p:txBody>
      </p:sp>
      <p:cxnSp>
        <p:nvCxnSpPr>
          <p:cNvPr id="15" name="Connecteur droit 8">
            <a:extLst>
              <a:ext uri="{FF2B5EF4-FFF2-40B4-BE49-F238E27FC236}">
                <a16:creationId xmlns:a16="http://schemas.microsoft.com/office/drawing/2014/main" id="{76E86959-47EF-40FD-8178-D84F5E7A0589}"/>
              </a:ext>
            </a:extLst>
          </p:cNvPr>
          <p:cNvCxnSpPr>
            <a:cxnSpLocks/>
          </p:cNvCxnSpPr>
          <p:nvPr/>
        </p:nvCxnSpPr>
        <p:spPr>
          <a:xfrm>
            <a:off x="177217" y="321750"/>
            <a:ext cx="0" cy="45000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Graphic 24">
            <a:extLst>
              <a:ext uri="{FF2B5EF4-FFF2-40B4-BE49-F238E27FC236}">
                <a16:creationId xmlns:a16="http://schemas.microsoft.com/office/drawing/2014/main" id="{4BA3E254-0FAD-4923-8423-37B7665EFF7B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01468" y="4691064"/>
            <a:ext cx="908368" cy="277597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07954AF9-FA7A-16D9-2855-F7E07D5D30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937" y="312223"/>
            <a:ext cx="8378155" cy="64633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lang="en-US" sz="2000" b="0" i="0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SLIDE TITLE</a:t>
            </a:r>
            <a:br>
              <a:rPr lang="en-US" noProof="0" dirty="0"/>
            </a:br>
            <a:r>
              <a:rPr lang="en-US" noProof="0" dirty="0"/>
              <a:t>IN 2 LINES</a:t>
            </a:r>
          </a:p>
        </p:txBody>
      </p:sp>
      <p:sp>
        <p:nvSpPr>
          <p:cNvPr id="5" name="Picture Placeholder 13">
            <a:extLst>
              <a:ext uri="{FF2B5EF4-FFF2-40B4-BE49-F238E27FC236}">
                <a16:creationId xmlns:a16="http://schemas.microsoft.com/office/drawing/2014/main" id="{6BE40011-DA7B-0916-B8EA-5EF246F87AE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762499" y="1525675"/>
            <a:ext cx="3998596" cy="2697369"/>
          </a:xfrm>
          <a:prstGeom prst="roundRect">
            <a:avLst>
              <a:gd name="adj" fmla="val 2294"/>
            </a:avLst>
          </a:prstGeom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noProof="0" dirty="0"/>
              <a:t>Insert image</a:t>
            </a:r>
          </a:p>
        </p:txBody>
      </p:sp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62CCBBF9-8656-A480-B0F8-35CF6D1B74D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62499" y="4341168"/>
            <a:ext cx="3998596" cy="2308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200" b="1" i="0" kern="900" cap="all" spc="0" baseline="0">
                <a:solidFill>
                  <a:schemeClr val="accent1"/>
                </a:solidFill>
                <a:latin typeface="3DS V2 SemiBold" pitchFamily="2" charset="0"/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pic>
        <p:nvPicPr>
          <p:cNvPr id="7" name="Image 10">
            <a:extLst>
              <a:ext uri="{FF2B5EF4-FFF2-40B4-BE49-F238E27FC236}">
                <a16:creationId xmlns:a16="http://schemas.microsoft.com/office/drawing/2014/main" id="{3018CF55-A28B-46B5-87D4-9476DE5DA12B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9" name="Footer Placeholder 12">
            <a:extLst>
              <a:ext uri="{FF2B5EF4-FFF2-40B4-BE49-F238E27FC236}">
                <a16:creationId xmlns:a16="http://schemas.microsoft.com/office/drawing/2014/main" id="{130442FA-E896-678F-D4BA-0715068B1392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</p:spTree>
    <p:extLst>
      <p:ext uri="{BB962C8B-B14F-4D97-AF65-F5344CB8AC3E}">
        <p14:creationId xmlns:p14="http://schemas.microsoft.com/office/powerpoint/2010/main" val="14756237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images - 1 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911C0480-0C12-AE45-93AE-AEAF1DB9DC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82904" y="1316573"/>
            <a:ext cx="3998596" cy="2643179"/>
          </a:xfrm>
          <a:custGeom>
            <a:avLst/>
            <a:gdLst>
              <a:gd name="connsiteX0" fmla="*/ 65234 w 3998596"/>
              <a:gd name="connsiteY0" fmla="*/ 0 h 2643179"/>
              <a:gd name="connsiteX1" fmla="*/ 3933362 w 3998596"/>
              <a:gd name="connsiteY1" fmla="*/ 0 h 2643179"/>
              <a:gd name="connsiteX2" fmla="*/ 3998596 w 3998596"/>
              <a:gd name="connsiteY2" fmla="*/ 65234 h 2643179"/>
              <a:gd name="connsiteX3" fmla="*/ 3998596 w 3998596"/>
              <a:gd name="connsiteY3" fmla="*/ 2577945 h 2643179"/>
              <a:gd name="connsiteX4" fmla="*/ 3933362 w 3998596"/>
              <a:gd name="connsiteY4" fmla="*/ 2643179 h 2643179"/>
              <a:gd name="connsiteX5" fmla="*/ 65234 w 3998596"/>
              <a:gd name="connsiteY5" fmla="*/ 2643179 h 2643179"/>
              <a:gd name="connsiteX6" fmla="*/ 0 w 3998596"/>
              <a:gd name="connsiteY6" fmla="*/ 2577945 h 2643179"/>
              <a:gd name="connsiteX7" fmla="*/ 0 w 3998596"/>
              <a:gd name="connsiteY7" fmla="*/ 65234 h 2643179"/>
              <a:gd name="connsiteX8" fmla="*/ 65234 w 3998596"/>
              <a:gd name="connsiteY8" fmla="*/ 0 h 2643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98596" h="2643179">
                <a:moveTo>
                  <a:pt x="65234" y="0"/>
                </a:moveTo>
                <a:lnTo>
                  <a:pt x="3933362" y="0"/>
                </a:lnTo>
                <a:cubicBezTo>
                  <a:pt x="3969390" y="0"/>
                  <a:pt x="3998596" y="29206"/>
                  <a:pt x="3998596" y="65234"/>
                </a:cubicBezTo>
                <a:lnTo>
                  <a:pt x="3998596" y="2577945"/>
                </a:lnTo>
                <a:cubicBezTo>
                  <a:pt x="3998596" y="2613973"/>
                  <a:pt x="3969390" y="2643179"/>
                  <a:pt x="3933362" y="2643179"/>
                </a:cubicBezTo>
                <a:lnTo>
                  <a:pt x="65234" y="2643179"/>
                </a:lnTo>
                <a:cubicBezTo>
                  <a:pt x="29206" y="2643179"/>
                  <a:pt x="0" y="2613973"/>
                  <a:pt x="0" y="2577945"/>
                </a:cubicBezTo>
                <a:lnTo>
                  <a:pt x="0" y="65234"/>
                </a:lnTo>
                <a:cubicBezTo>
                  <a:pt x="0" y="29206"/>
                  <a:pt x="29206" y="0"/>
                  <a:pt x="65234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15" name="ZoneTexte 7">
            <a:extLst>
              <a:ext uri="{FF2B5EF4-FFF2-40B4-BE49-F238E27FC236}">
                <a16:creationId xmlns:a16="http://schemas.microsoft.com/office/drawing/2014/main" id="{22698845-2916-45D0-B3E4-D237E8514CBF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sp>
        <p:nvSpPr>
          <p:cNvPr id="17" name="Espace réservé pour une image  16">
            <a:extLst>
              <a:ext uri="{FF2B5EF4-FFF2-40B4-BE49-F238E27FC236}">
                <a16:creationId xmlns:a16="http://schemas.microsoft.com/office/drawing/2014/main" id="{60B0E87F-BF46-034E-BBEB-7DD5E2A4620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762503" y="1316573"/>
            <a:ext cx="3998596" cy="2643179"/>
          </a:xfrm>
          <a:custGeom>
            <a:avLst/>
            <a:gdLst>
              <a:gd name="connsiteX0" fmla="*/ 65234 w 3998596"/>
              <a:gd name="connsiteY0" fmla="*/ 0 h 2643179"/>
              <a:gd name="connsiteX1" fmla="*/ 3933362 w 3998596"/>
              <a:gd name="connsiteY1" fmla="*/ 0 h 2643179"/>
              <a:gd name="connsiteX2" fmla="*/ 3998596 w 3998596"/>
              <a:gd name="connsiteY2" fmla="*/ 65234 h 2643179"/>
              <a:gd name="connsiteX3" fmla="*/ 3998596 w 3998596"/>
              <a:gd name="connsiteY3" fmla="*/ 2577945 h 2643179"/>
              <a:gd name="connsiteX4" fmla="*/ 3933362 w 3998596"/>
              <a:gd name="connsiteY4" fmla="*/ 2643179 h 2643179"/>
              <a:gd name="connsiteX5" fmla="*/ 65234 w 3998596"/>
              <a:gd name="connsiteY5" fmla="*/ 2643179 h 2643179"/>
              <a:gd name="connsiteX6" fmla="*/ 0 w 3998596"/>
              <a:gd name="connsiteY6" fmla="*/ 2577945 h 2643179"/>
              <a:gd name="connsiteX7" fmla="*/ 0 w 3998596"/>
              <a:gd name="connsiteY7" fmla="*/ 65234 h 2643179"/>
              <a:gd name="connsiteX8" fmla="*/ 65234 w 3998596"/>
              <a:gd name="connsiteY8" fmla="*/ 0 h 2643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98596" h="2643179">
                <a:moveTo>
                  <a:pt x="65234" y="0"/>
                </a:moveTo>
                <a:lnTo>
                  <a:pt x="3933362" y="0"/>
                </a:lnTo>
                <a:cubicBezTo>
                  <a:pt x="3969390" y="0"/>
                  <a:pt x="3998596" y="29206"/>
                  <a:pt x="3998596" y="65234"/>
                </a:cubicBezTo>
                <a:lnTo>
                  <a:pt x="3998596" y="2577945"/>
                </a:lnTo>
                <a:cubicBezTo>
                  <a:pt x="3998596" y="2613973"/>
                  <a:pt x="3969390" y="2643179"/>
                  <a:pt x="3933362" y="2643179"/>
                </a:cubicBezTo>
                <a:lnTo>
                  <a:pt x="65234" y="2643179"/>
                </a:lnTo>
                <a:cubicBezTo>
                  <a:pt x="29206" y="2643179"/>
                  <a:pt x="0" y="2613973"/>
                  <a:pt x="0" y="2577945"/>
                </a:cubicBezTo>
                <a:lnTo>
                  <a:pt x="0" y="65234"/>
                </a:lnTo>
                <a:cubicBezTo>
                  <a:pt x="0" y="29206"/>
                  <a:pt x="29206" y="0"/>
                  <a:pt x="65234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Insert image</a:t>
            </a:r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FA7664AA-B8C8-3B45-B99A-0CA51D498D4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2903" y="4074123"/>
            <a:ext cx="3998589" cy="274638"/>
          </a:xfrm>
          <a:prstGeom prst="rect">
            <a:avLst/>
          </a:prstGeom>
        </p:spPr>
        <p:txBody>
          <a:bodyPr lIns="0" tIns="0" rIns="0" bIns="0"/>
          <a:lstStyle>
            <a:lvl1pPr marL="0" indent="0" algn="ctr" defTabSz="914378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1200" b="1" i="0" kern="1200" dirty="0">
                <a:solidFill>
                  <a:schemeClr val="tx1"/>
                </a:solidFill>
                <a:latin typeface="3DS V2 SemiBold" pitchFamily="2" charset="0"/>
                <a:ea typeface="+mn-ea"/>
                <a:cs typeface="+mn-cs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3E5EB8DA-9DEF-EF48-9EE9-59093D298D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62502" y="4074123"/>
            <a:ext cx="3998589" cy="274638"/>
          </a:xfrm>
          <a:prstGeom prst="rect">
            <a:avLst/>
          </a:prstGeom>
        </p:spPr>
        <p:txBody>
          <a:bodyPr lIns="0" tIns="0" rIns="0" bIns="0"/>
          <a:lstStyle>
            <a:lvl1pPr marL="0" indent="0" algn="ctr" defTabSz="914378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1200" b="1" i="0" kern="1200" dirty="0">
                <a:solidFill>
                  <a:schemeClr val="tx1"/>
                </a:solidFill>
                <a:latin typeface="3DS V2 SemiBold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4471878F-4F92-4DF3-B6EF-5FFC2FC7F8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904" y="630182"/>
            <a:ext cx="8377739" cy="2308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kern="900" spc="0" baseline="0">
                <a:solidFill>
                  <a:schemeClr val="tx1"/>
                </a:solidFill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is is the slide subtitle</a:t>
            </a:r>
          </a:p>
        </p:txBody>
      </p:sp>
      <p:cxnSp>
        <p:nvCxnSpPr>
          <p:cNvPr id="18" name="Connecteur droit 8">
            <a:extLst>
              <a:ext uri="{FF2B5EF4-FFF2-40B4-BE49-F238E27FC236}">
                <a16:creationId xmlns:a16="http://schemas.microsoft.com/office/drawing/2014/main" id="{5C27C61C-22E0-4BF6-B34A-28CCC99949F7}"/>
              </a:ext>
            </a:extLst>
          </p:cNvPr>
          <p:cNvCxnSpPr>
            <a:cxnSpLocks/>
          </p:cNvCxnSpPr>
          <p:nvPr/>
        </p:nvCxnSpPr>
        <p:spPr>
          <a:xfrm>
            <a:off x="177217" y="321750"/>
            <a:ext cx="0" cy="45000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>
            <a:extLst>
              <a:ext uri="{FF2B5EF4-FFF2-40B4-BE49-F238E27FC236}">
                <a16:creationId xmlns:a16="http://schemas.microsoft.com/office/drawing/2014/main" id="{7658458E-B59C-7043-9A41-BE82B255A31B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36F76BFB-468A-C5B4-294B-159D4943B9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938" y="312223"/>
            <a:ext cx="8378150" cy="32316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100000"/>
              </a:lnSpc>
              <a:defRPr lang="en-US" sz="2000" b="0" i="0" strike="noStrike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SLIDE TITLE</a:t>
            </a:r>
          </a:p>
        </p:txBody>
      </p:sp>
      <p:sp>
        <p:nvSpPr>
          <p:cNvPr id="6" name="Footer Placeholder 12">
            <a:extLst>
              <a:ext uri="{FF2B5EF4-FFF2-40B4-BE49-F238E27FC236}">
                <a16:creationId xmlns:a16="http://schemas.microsoft.com/office/drawing/2014/main" id="{38336C39-0EEF-A847-0976-3A76323E70DC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</p:spTree>
    <p:extLst>
      <p:ext uri="{BB962C8B-B14F-4D97-AF65-F5344CB8AC3E}">
        <p14:creationId xmlns:p14="http://schemas.microsoft.com/office/powerpoint/2010/main" val="255878107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images - 2 line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911C0480-0C12-AE45-93AE-AEAF1DB9DCC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82904" y="1549655"/>
            <a:ext cx="3998596" cy="2643179"/>
          </a:xfrm>
          <a:custGeom>
            <a:avLst/>
            <a:gdLst>
              <a:gd name="connsiteX0" fmla="*/ 65234 w 3998596"/>
              <a:gd name="connsiteY0" fmla="*/ 0 h 2643179"/>
              <a:gd name="connsiteX1" fmla="*/ 3933362 w 3998596"/>
              <a:gd name="connsiteY1" fmla="*/ 0 h 2643179"/>
              <a:gd name="connsiteX2" fmla="*/ 3998596 w 3998596"/>
              <a:gd name="connsiteY2" fmla="*/ 65234 h 2643179"/>
              <a:gd name="connsiteX3" fmla="*/ 3998596 w 3998596"/>
              <a:gd name="connsiteY3" fmla="*/ 2577945 h 2643179"/>
              <a:gd name="connsiteX4" fmla="*/ 3933362 w 3998596"/>
              <a:gd name="connsiteY4" fmla="*/ 2643179 h 2643179"/>
              <a:gd name="connsiteX5" fmla="*/ 65234 w 3998596"/>
              <a:gd name="connsiteY5" fmla="*/ 2643179 h 2643179"/>
              <a:gd name="connsiteX6" fmla="*/ 0 w 3998596"/>
              <a:gd name="connsiteY6" fmla="*/ 2577945 h 2643179"/>
              <a:gd name="connsiteX7" fmla="*/ 0 w 3998596"/>
              <a:gd name="connsiteY7" fmla="*/ 65234 h 2643179"/>
              <a:gd name="connsiteX8" fmla="*/ 65234 w 3998596"/>
              <a:gd name="connsiteY8" fmla="*/ 0 h 2643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98596" h="2643179">
                <a:moveTo>
                  <a:pt x="65234" y="0"/>
                </a:moveTo>
                <a:lnTo>
                  <a:pt x="3933362" y="0"/>
                </a:lnTo>
                <a:cubicBezTo>
                  <a:pt x="3969390" y="0"/>
                  <a:pt x="3998596" y="29206"/>
                  <a:pt x="3998596" y="65234"/>
                </a:cubicBezTo>
                <a:lnTo>
                  <a:pt x="3998596" y="2577945"/>
                </a:lnTo>
                <a:cubicBezTo>
                  <a:pt x="3998596" y="2613973"/>
                  <a:pt x="3969390" y="2643179"/>
                  <a:pt x="3933362" y="2643179"/>
                </a:cubicBezTo>
                <a:lnTo>
                  <a:pt x="65234" y="2643179"/>
                </a:lnTo>
                <a:cubicBezTo>
                  <a:pt x="29206" y="2643179"/>
                  <a:pt x="0" y="2613973"/>
                  <a:pt x="0" y="2577945"/>
                </a:cubicBezTo>
                <a:lnTo>
                  <a:pt x="0" y="65234"/>
                </a:lnTo>
                <a:cubicBezTo>
                  <a:pt x="0" y="29206"/>
                  <a:pt x="29206" y="0"/>
                  <a:pt x="65234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Insert image</a:t>
            </a:r>
          </a:p>
        </p:txBody>
      </p:sp>
      <p:sp>
        <p:nvSpPr>
          <p:cNvPr id="42" name="Text Placeholder 14">
            <a:extLst>
              <a:ext uri="{FF2B5EF4-FFF2-40B4-BE49-F238E27FC236}">
                <a16:creationId xmlns:a16="http://schemas.microsoft.com/office/drawing/2014/main" id="{AE38FD9D-46D9-AC42-B91A-F99126048FB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906" y="988138"/>
            <a:ext cx="8378189" cy="2308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kern="900" spc="0" baseline="0">
                <a:solidFill>
                  <a:schemeClr val="tx1"/>
                </a:solidFill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is is the slide subtitle</a:t>
            </a:r>
          </a:p>
        </p:txBody>
      </p:sp>
      <p:sp>
        <p:nvSpPr>
          <p:cNvPr id="15" name="ZoneTexte 7">
            <a:extLst>
              <a:ext uri="{FF2B5EF4-FFF2-40B4-BE49-F238E27FC236}">
                <a16:creationId xmlns:a16="http://schemas.microsoft.com/office/drawing/2014/main" id="{22698845-2916-45D0-B3E4-D237E8514CBF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sp>
        <p:nvSpPr>
          <p:cNvPr id="17" name="Espace réservé pour une image  16">
            <a:extLst>
              <a:ext uri="{FF2B5EF4-FFF2-40B4-BE49-F238E27FC236}">
                <a16:creationId xmlns:a16="http://schemas.microsoft.com/office/drawing/2014/main" id="{60B0E87F-BF46-034E-BBEB-7DD5E2A4620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762500" y="1549655"/>
            <a:ext cx="3998596" cy="2643179"/>
          </a:xfrm>
          <a:custGeom>
            <a:avLst/>
            <a:gdLst>
              <a:gd name="connsiteX0" fmla="*/ 65234 w 3998596"/>
              <a:gd name="connsiteY0" fmla="*/ 0 h 2643179"/>
              <a:gd name="connsiteX1" fmla="*/ 3933362 w 3998596"/>
              <a:gd name="connsiteY1" fmla="*/ 0 h 2643179"/>
              <a:gd name="connsiteX2" fmla="*/ 3998596 w 3998596"/>
              <a:gd name="connsiteY2" fmla="*/ 65234 h 2643179"/>
              <a:gd name="connsiteX3" fmla="*/ 3998596 w 3998596"/>
              <a:gd name="connsiteY3" fmla="*/ 2577945 h 2643179"/>
              <a:gd name="connsiteX4" fmla="*/ 3933362 w 3998596"/>
              <a:gd name="connsiteY4" fmla="*/ 2643179 h 2643179"/>
              <a:gd name="connsiteX5" fmla="*/ 65234 w 3998596"/>
              <a:gd name="connsiteY5" fmla="*/ 2643179 h 2643179"/>
              <a:gd name="connsiteX6" fmla="*/ 0 w 3998596"/>
              <a:gd name="connsiteY6" fmla="*/ 2577945 h 2643179"/>
              <a:gd name="connsiteX7" fmla="*/ 0 w 3998596"/>
              <a:gd name="connsiteY7" fmla="*/ 65234 h 2643179"/>
              <a:gd name="connsiteX8" fmla="*/ 65234 w 3998596"/>
              <a:gd name="connsiteY8" fmla="*/ 0 h 2643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98596" h="2643179">
                <a:moveTo>
                  <a:pt x="65234" y="0"/>
                </a:moveTo>
                <a:lnTo>
                  <a:pt x="3933362" y="0"/>
                </a:lnTo>
                <a:cubicBezTo>
                  <a:pt x="3969390" y="0"/>
                  <a:pt x="3998596" y="29206"/>
                  <a:pt x="3998596" y="65234"/>
                </a:cubicBezTo>
                <a:lnTo>
                  <a:pt x="3998596" y="2577945"/>
                </a:lnTo>
                <a:cubicBezTo>
                  <a:pt x="3998596" y="2613973"/>
                  <a:pt x="3969390" y="2643179"/>
                  <a:pt x="3933362" y="2643179"/>
                </a:cubicBezTo>
                <a:lnTo>
                  <a:pt x="65234" y="2643179"/>
                </a:lnTo>
                <a:cubicBezTo>
                  <a:pt x="29206" y="2643179"/>
                  <a:pt x="0" y="2613973"/>
                  <a:pt x="0" y="2577945"/>
                </a:cubicBezTo>
                <a:lnTo>
                  <a:pt x="0" y="65234"/>
                </a:lnTo>
                <a:cubicBezTo>
                  <a:pt x="0" y="29206"/>
                  <a:pt x="29206" y="0"/>
                  <a:pt x="65234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Insert image</a:t>
            </a:r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FA7664AA-B8C8-3B45-B99A-0CA51D498D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904" y="4307205"/>
            <a:ext cx="3998596" cy="274638"/>
          </a:xfrm>
          <a:prstGeom prst="rect">
            <a:avLst/>
          </a:prstGeom>
        </p:spPr>
        <p:txBody>
          <a:bodyPr lIns="0" tIns="0" rIns="0" bIns="0"/>
          <a:lstStyle>
            <a:lvl1pPr marL="0" indent="0" algn="ctr" defTabSz="914378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1200" b="1" i="0" kern="1200" dirty="0">
                <a:solidFill>
                  <a:schemeClr val="tx1"/>
                </a:solidFill>
                <a:latin typeface="3DS V2 SemiBold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3E5EB8DA-9DEF-EF48-9EE9-59093D298D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62500" y="4307205"/>
            <a:ext cx="3998596" cy="274638"/>
          </a:xfrm>
          <a:prstGeom prst="rect">
            <a:avLst/>
          </a:prstGeom>
        </p:spPr>
        <p:txBody>
          <a:bodyPr lIns="0" tIns="0" rIns="0" bIns="0"/>
          <a:lstStyle>
            <a:lvl1pPr marL="0" indent="0" algn="ctr" defTabSz="914378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1200" b="1" i="0" kern="1200" dirty="0">
                <a:solidFill>
                  <a:schemeClr val="tx1"/>
                </a:solidFill>
                <a:latin typeface="3DS V2 SemiBold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cxnSp>
        <p:nvCxnSpPr>
          <p:cNvPr id="18" name="Connecteur droit 8">
            <a:extLst>
              <a:ext uri="{FF2B5EF4-FFF2-40B4-BE49-F238E27FC236}">
                <a16:creationId xmlns:a16="http://schemas.microsoft.com/office/drawing/2014/main" id="{D0294F47-5302-4438-BCB7-B21F3AB2CB6E}"/>
              </a:ext>
            </a:extLst>
          </p:cNvPr>
          <p:cNvCxnSpPr>
            <a:cxnSpLocks/>
          </p:cNvCxnSpPr>
          <p:nvPr/>
        </p:nvCxnSpPr>
        <p:spPr>
          <a:xfrm>
            <a:off x="177217" y="321750"/>
            <a:ext cx="0" cy="45000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>
            <a:extLst>
              <a:ext uri="{FF2B5EF4-FFF2-40B4-BE49-F238E27FC236}">
                <a16:creationId xmlns:a16="http://schemas.microsoft.com/office/drawing/2014/main" id="{E7A9E3C5-2DD9-6D45-8BDB-72C632F258FF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38C3619B-6E02-7B3C-D73D-CA560094A0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937" y="312223"/>
            <a:ext cx="8378156" cy="64633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lang="en-US" sz="2000" b="0" i="0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SLIDE TITLE</a:t>
            </a:r>
            <a:br>
              <a:rPr lang="en-US" noProof="0" dirty="0"/>
            </a:br>
            <a:r>
              <a:rPr lang="en-US" noProof="0" dirty="0"/>
              <a:t>IN 2 LINES</a:t>
            </a:r>
          </a:p>
        </p:txBody>
      </p:sp>
      <p:sp>
        <p:nvSpPr>
          <p:cNvPr id="6" name="Footer Placeholder 12">
            <a:extLst>
              <a:ext uri="{FF2B5EF4-FFF2-40B4-BE49-F238E27FC236}">
                <a16:creationId xmlns:a16="http://schemas.microsoft.com/office/drawing/2014/main" id="{7BEF85B4-E310-21CB-7320-959991D717F6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</p:spTree>
    <p:extLst>
      <p:ext uri="{BB962C8B-B14F-4D97-AF65-F5344CB8AC3E}">
        <p14:creationId xmlns:p14="http://schemas.microsoft.com/office/powerpoint/2010/main" val="27616015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kgd image - 1 line title - no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ZoneTexte 7">
            <a:extLst>
              <a:ext uri="{FF2B5EF4-FFF2-40B4-BE49-F238E27FC236}">
                <a16:creationId xmlns:a16="http://schemas.microsoft.com/office/drawing/2014/main" id="{64F11E7F-0F44-6549-9AE8-64F85711DDF7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cxnSp>
        <p:nvCxnSpPr>
          <p:cNvPr id="39" name="Connecteur droit 8">
            <a:extLst>
              <a:ext uri="{FF2B5EF4-FFF2-40B4-BE49-F238E27FC236}">
                <a16:creationId xmlns:a16="http://schemas.microsoft.com/office/drawing/2014/main" id="{9EA78508-74E4-44FE-9897-5877052FD886}"/>
              </a:ext>
            </a:extLst>
          </p:cNvPr>
          <p:cNvCxnSpPr>
            <a:cxnSpLocks/>
          </p:cNvCxnSpPr>
          <p:nvPr/>
        </p:nvCxnSpPr>
        <p:spPr>
          <a:xfrm>
            <a:off x="177217" y="321750"/>
            <a:ext cx="0" cy="45000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Picture 32">
            <a:extLst>
              <a:ext uri="{FF2B5EF4-FFF2-40B4-BE49-F238E27FC236}">
                <a16:creationId xmlns:a16="http://schemas.microsoft.com/office/drawing/2014/main" id="{1871A71E-628D-4D24-B17B-FDE9F4EF14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37292" y="0"/>
            <a:ext cx="1649740" cy="2617520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9692372A-B92C-4940-A1E1-6D14831A5423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CF6D2E8E-7554-B611-730C-9C9996BCCF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938" y="312223"/>
            <a:ext cx="8378794" cy="32316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100000"/>
              </a:lnSpc>
              <a:defRPr lang="en-US" sz="2000" b="0" i="0" strike="noStrike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SLIDE TITLE</a:t>
            </a:r>
          </a:p>
        </p:txBody>
      </p:sp>
      <p:sp>
        <p:nvSpPr>
          <p:cNvPr id="6" name="Footer Placeholder 12">
            <a:extLst>
              <a:ext uri="{FF2B5EF4-FFF2-40B4-BE49-F238E27FC236}">
                <a16:creationId xmlns:a16="http://schemas.microsoft.com/office/drawing/2014/main" id="{B2EE147C-B3DA-17A9-831E-7DA4866D8683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7364A7F-B392-7D76-F114-9B6AEEA6D5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37292" y="0"/>
            <a:ext cx="1649740" cy="2617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018594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kgd image - 1 lin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ZoneTexte 7">
            <a:extLst>
              <a:ext uri="{FF2B5EF4-FFF2-40B4-BE49-F238E27FC236}">
                <a16:creationId xmlns:a16="http://schemas.microsoft.com/office/drawing/2014/main" id="{64F11E7F-0F44-6549-9AE8-64F85711DDF7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cxnSp>
        <p:nvCxnSpPr>
          <p:cNvPr id="39" name="Connecteur droit 8">
            <a:extLst>
              <a:ext uri="{FF2B5EF4-FFF2-40B4-BE49-F238E27FC236}">
                <a16:creationId xmlns:a16="http://schemas.microsoft.com/office/drawing/2014/main" id="{9EA78508-74E4-44FE-9897-5877052FD886}"/>
              </a:ext>
            </a:extLst>
          </p:cNvPr>
          <p:cNvCxnSpPr>
            <a:cxnSpLocks/>
          </p:cNvCxnSpPr>
          <p:nvPr/>
        </p:nvCxnSpPr>
        <p:spPr>
          <a:xfrm>
            <a:off x="177217" y="321750"/>
            <a:ext cx="0" cy="45000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52FDB6FF-C113-2C47-8E97-8C0F867428B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904" y="630182"/>
            <a:ext cx="8378383" cy="2308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kern="900" spc="0" baseline="0">
                <a:solidFill>
                  <a:schemeClr val="tx1"/>
                </a:solidFill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is is the slide subtitle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1871A71E-628D-4D24-B17B-FDE9F4EF14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37292" y="0"/>
            <a:ext cx="1649740" cy="2617520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9692372A-B92C-4940-A1E1-6D14831A5423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4" name="Titre 1">
            <a:extLst>
              <a:ext uri="{FF2B5EF4-FFF2-40B4-BE49-F238E27FC236}">
                <a16:creationId xmlns:a16="http://schemas.microsoft.com/office/drawing/2014/main" id="{B2FFD506-07C1-7D0C-3FFE-B1A4C8D59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937" y="312223"/>
            <a:ext cx="8378795" cy="32316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100000"/>
              </a:lnSpc>
              <a:defRPr lang="en-US" sz="2000" b="0" i="0" strike="noStrike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SLIDE TITLE</a:t>
            </a:r>
          </a:p>
        </p:txBody>
      </p:sp>
      <p:sp>
        <p:nvSpPr>
          <p:cNvPr id="6" name="Footer Placeholder 12">
            <a:extLst>
              <a:ext uri="{FF2B5EF4-FFF2-40B4-BE49-F238E27FC236}">
                <a16:creationId xmlns:a16="http://schemas.microsoft.com/office/drawing/2014/main" id="{C486A747-12B4-3DF4-9380-F932F7C2AB5B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D78187C-C437-F97C-121C-9A15C54021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37292" y="0"/>
            <a:ext cx="1649740" cy="2617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49954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kgd image - 2 lines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6758D208-D91A-434F-BD0C-E716F52577C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905" y="988138"/>
            <a:ext cx="8378832" cy="2308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kern="900" spc="0" baseline="0">
                <a:solidFill>
                  <a:schemeClr val="tx1"/>
                </a:solidFill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his is the slide subtitle</a:t>
            </a:r>
          </a:p>
        </p:txBody>
      </p:sp>
      <p:sp>
        <p:nvSpPr>
          <p:cNvPr id="21" name="ZoneTexte 7">
            <a:extLst>
              <a:ext uri="{FF2B5EF4-FFF2-40B4-BE49-F238E27FC236}">
                <a16:creationId xmlns:a16="http://schemas.microsoft.com/office/drawing/2014/main" id="{64F11E7F-0F44-6549-9AE8-64F85711DDF7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cxnSp>
        <p:nvCxnSpPr>
          <p:cNvPr id="39" name="Connecteur droit 8">
            <a:extLst>
              <a:ext uri="{FF2B5EF4-FFF2-40B4-BE49-F238E27FC236}">
                <a16:creationId xmlns:a16="http://schemas.microsoft.com/office/drawing/2014/main" id="{9EA78508-74E4-44FE-9897-5877052FD886}"/>
              </a:ext>
            </a:extLst>
          </p:cNvPr>
          <p:cNvCxnSpPr>
            <a:cxnSpLocks/>
          </p:cNvCxnSpPr>
          <p:nvPr/>
        </p:nvCxnSpPr>
        <p:spPr>
          <a:xfrm>
            <a:off x="177217" y="321750"/>
            <a:ext cx="0" cy="45000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Picture 32">
            <a:extLst>
              <a:ext uri="{FF2B5EF4-FFF2-40B4-BE49-F238E27FC236}">
                <a16:creationId xmlns:a16="http://schemas.microsoft.com/office/drawing/2014/main" id="{1BC7433B-AF58-4F95-A63A-7C7E75670C6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37292" y="0"/>
            <a:ext cx="1649740" cy="2617520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C427A07B-8296-9140-BDEF-FFFDDEBBD437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5BD0A9FC-18BF-B010-8C49-8E801642AF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938" y="312223"/>
            <a:ext cx="8378798" cy="64633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lang="en-US" sz="2000" b="0" i="0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SLIDE TITLE</a:t>
            </a:r>
            <a:br>
              <a:rPr lang="en-US" noProof="0" dirty="0"/>
            </a:br>
            <a:r>
              <a:rPr lang="en-US" noProof="0" dirty="0"/>
              <a:t>IN 2 LINES</a:t>
            </a:r>
          </a:p>
        </p:txBody>
      </p:sp>
      <p:sp>
        <p:nvSpPr>
          <p:cNvPr id="6" name="Footer Placeholder 12">
            <a:extLst>
              <a:ext uri="{FF2B5EF4-FFF2-40B4-BE49-F238E27FC236}">
                <a16:creationId xmlns:a16="http://schemas.microsoft.com/office/drawing/2014/main" id="{C1514E22-8196-9A97-1B28-94681EA28CB9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4A5892D-718A-1C7C-DC16-BD68452B67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37292" y="0"/>
            <a:ext cx="1649740" cy="2617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34467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kgd image - 1 line title whi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ZoneTexte 7">
            <a:extLst>
              <a:ext uri="{FF2B5EF4-FFF2-40B4-BE49-F238E27FC236}">
                <a16:creationId xmlns:a16="http://schemas.microsoft.com/office/drawing/2014/main" id="{FAFB4A33-86F3-D74D-917A-04049D8B5DB5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bg1"/>
                </a:solidFill>
              </a:rPr>
              <a:pPr algn="ctr"/>
              <a:t>‹#›</a:t>
            </a:fld>
            <a:endParaRPr lang="en-US" sz="800" noProof="1">
              <a:solidFill>
                <a:schemeClr val="bg1"/>
              </a:solidFill>
            </a:endParaRPr>
          </a:p>
        </p:txBody>
      </p:sp>
      <p:pic>
        <p:nvPicPr>
          <p:cNvPr id="54" name="Graphic 53">
            <a:extLst>
              <a:ext uri="{FF2B5EF4-FFF2-40B4-BE49-F238E27FC236}">
                <a16:creationId xmlns:a16="http://schemas.microsoft.com/office/drawing/2014/main" id="{89BBA403-03BB-4FC8-9FD2-884A1CCE8724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01468" y="4691064"/>
            <a:ext cx="908368" cy="277597"/>
          </a:xfrm>
          <a:prstGeom prst="rect">
            <a:avLst/>
          </a:prstGeom>
        </p:spPr>
      </p:pic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8998B16E-8E76-2647-9A83-23B05B28AF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904" y="630182"/>
            <a:ext cx="8378384" cy="2308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kern="900" spc="0" baseline="0">
                <a:solidFill>
                  <a:schemeClr val="bg1"/>
                </a:solidFill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is is the slide subtit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4D68CFD-63CD-4008-B153-21BCF3197DF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37292" y="0"/>
            <a:ext cx="1649740" cy="2617520"/>
          </a:xfrm>
          <a:prstGeom prst="rect">
            <a:avLst/>
          </a:prstGeom>
        </p:spPr>
      </p:pic>
      <p:sp>
        <p:nvSpPr>
          <p:cNvPr id="4" name="Titre 1">
            <a:extLst>
              <a:ext uri="{FF2B5EF4-FFF2-40B4-BE49-F238E27FC236}">
                <a16:creationId xmlns:a16="http://schemas.microsoft.com/office/drawing/2014/main" id="{6DDA5FCB-EFE6-483C-4BD2-B2DD6468EA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937" y="312223"/>
            <a:ext cx="8378796" cy="32316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100000"/>
              </a:lnSpc>
              <a:defRPr lang="en-US" sz="2000" b="0" i="0" strike="noStrike" kern="1200" cap="all" spc="0" baseline="0" noProof="0" dirty="0" smtClean="0">
                <a:solidFill>
                  <a:schemeClr val="bg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SLIDE TITLE</a:t>
            </a:r>
          </a:p>
        </p:txBody>
      </p:sp>
      <p:cxnSp>
        <p:nvCxnSpPr>
          <p:cNvPr id="8" name="Connecteur droit 8">
            <a:extLst>
              <a:ext uri="{FF2B5EF4-FFF2-40B4-BE49-F238E27FC236}">
                <a16:creationId xmlns:a16="http://schemas.microsoft.com/office/drawing/2014/main" id="{CC59B017-1BF8-C3AB-1A26-6F7D09FE8245}"/>
              </a:ext>
            </a:extLst>
          </p:cNvPr>
          <p:cNvCxnSpPr>
            <a:cxnSpLocks/>
          </p:cNvCxnSpPr>
          <p:nvPr/>
        </p:nvCxnSpPr>
        <p:spPr>
          <a:xfrm>
            <a:off x="177217" y="323850"/>
            <a:ext cx="0" cy="4497900"/>
          </a:xfrm>
          <a:prstGeom prst="line">
            <a:avLst/>
          </a:prstGeom>
          <a:ln w="2540">
            <a:gradFill>
              <a:gsLst>
                <a:gs pos="0">
                  <a:schemeClr val="accent1"/>
                </a:gs>
                <a:gs pos="57000">
                  <a:schemeClr val="bg1">
                    <a:alpha val="13000"/>
                  </a:schemeClr>
                </a:gs>
                <a:gs pos="100000">
                  <a:schemeClr val="tx1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12">
            <a:extLst>
              <a:ext uri="{FF2B5EF4-FFF2-40B4-BE49-F238E27FC236}">
                <a16:creationId xmlns:a16="http://schemas.microsoft.com/office/drawing/2014/main" id="{7095713C-170F-4D80-FA99-D9AFB5A8A8F5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>
                <a:solidFill>
                  <a:schemeClr val="bg1"/>
                </a:solidFill>
              </a:rPr>
              <a:t>© Dassault Systèmes | Confidential Information | 2024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640EB1B-8EED-84AA-7576-4C13EFF3F3E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37292" y="0"/>
            <a:ext cx="1649740" cy="2617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91056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kgd image - 2 lines title whi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6758D208-D91A-434F-BD0C-E716F52577C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905" y="988138"/>
            <a:ext cx="8378830" cy="2308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kern="900" spc="0" baseline="0">
                <a:solidFill>
                  <a:schemeClr val="bg1"/>
                </a:solidFill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is is the slide subtitle</a:t>
            </a:r>
          </a:p>
        </p:txBody>
      </p:sp>
      <p:sp>
        <p:nvSpPr>
          <p:cNvPr id="18" name="ZoneTexte 7">
            <a:extLst>
              <a:ext uri="{FF2B5EF4-FFF2-40B4-BE49-F238E27FC236}">
                <a16:creationId xmlns:a16="http://schemas.microsoft.com/office/drawing/2014/main" id="{FAFB4A33-86F3-D74D-917A-04049D8B5DB5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bg1"/>
                </a:solidFill>
              </a:rPr>
              <a:pPr algn="ctr"/>
              <a:t>‹#›</a:t>
            </a:fld>
            <a:endParaRPr lang="en-US" sz="800" noProof="1">
              <a:solidFill>
                <a:schemeClr val="bg1"/>
              </a:solidFill>
            </a:endParaRPr>
          </a:p>
        </p:txBody>
      </p:sp>
      <p:pic>
        <p:nvPicPr>
          <p:cNvPr id="54" name="Graphic 53">
            <a:extLst>
              <a:ext uri="{FF2B5EF4-FFF2-40B4-BE49-F238E27FC236}">
                <a16:creationId xmlns:a16="http://schemas.microsoft.com/office/drawing/2014/main" id="{89BBA403-03BB-4FC8-9FD2-884A1CCE8724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01468" y="4691064"/>
            <a:ext cx="908368" cy="277597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C631EDF2-9B46-42DC-A929-C0CB0FF12A7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37292" y="0"/>
            <a:ext cx="1649740" cy="2617520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65741466-2E02-8058-821D-F1EF31B07D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937" y="312223"/>
            <a:ext cx="8378796" cy="646331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lang="en-US" sz="2000" b="0" i="0" kern="1200" cap="all" spc="0" baseline="0" noProof="0" dirty="0" smtClean="0">
                <a:solidFill>
                  <a:schemeClr val="bg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SLIDE TITLE</a:t>
            </a:r>
            <a:br>
              <a:rPr lang="en-US" noProof="0" dirty="0"/>
            </a:br>
            <a:r>
              <a:rPr lang="en-US" noProof="0" dirty="0"/>
              <a:t>IN 2 LINES</a:t>
            </a:r>
          </a:p>
        </p:txBody>
      </p:sp>
      <p:cxnSp>
        <p:nvCxnSpPr>
          <p:cNvPr id="7" name="Connecteur droit 8">
            <a:extLst>
              <a:ext uri="{FF2B5EF4-FFF2-40B4-BE49-F238E27FC236}">
                <a16:creationId xmlns:a16="http://schemas.microsoft.com/office/drawing/2014/main" id="{718929FF-89CE-1246-27D8-96D64D83B9F9}"/>
              </a:ext>
            </a:extLst>
          </p:cNvPr>
          <p:cNvCxnSpPr>
            <a:cxnSpLocks/>
          </p:cNvCxnSpPr>
          <p:nvPr/>
        </p:nvCxnSpPr>
        <p:spPr>
          <a:xfrm>
            <a:off x="177217" y="323850"/>
            <a:ext cx="0" cy="4497900"/>
          </a:xfrm>
          <a:prstGeom prst="line">
            <a:avLst/>
          </a:prstGeom>
          <a:ln w="2540">
            <a:gradFill>
              <a:gsLst>
                <a:gs pos="0">
                  <a:schemeClr val="accent1"/>
                </a:gs>
                <a:gs pos="57000">
                  <a:schemeClr val="bg1">
                    <a:alpha val="13000"/>
                  </a:schemeClr>
                </a:gs>
                <a:gs pos="100000">
                  <a:schemeClr val="tx1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12">
            <a:extLst>
              <a:ext uri="{FF2B5EF4-FFF2-40B4-BE49-F238E27FC236}">
                <a16:creationId xmlns:a16="http://schemas.microsoft.com/office/drawing/2014/main" id="{0C1D8A8C-EA01-EA7F-2AAC-34FB2B018785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>
                <a:solidFill>
                  <a:schemeClr val="bg1"/>
                </a:solidFill>
              </a:rPr>
              <a:t>© Dassault Systèmes | Confidential Information | 2024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E80FEF5-1C40-219A-76A6-38518E4A6FE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37292" y="0"/>
            <a:ext cx="1649740" cy="2617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1433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llipse 3">
            <a:extLst>
              <a:ext uri="{FF2B5EF4-FFF2-40B4-BE49-F238E27FC236}">
                <a16:creationId xmlns:a16="http://schemas.microsoft.com/office/drawing/2014/main" id="{ECA946E2-F8A7-B8EF-8AB3-121AC7DAD0B8}"/>
              </a:ext>
            </a:extLst>
          </p:cNvPr>
          <p:cNvSpPr/>
          <p:nvPr/>
        </p:nvSpPr>
        <p:spPr>
          <a:xfrm rot="18656103">
            <a:off x="4347605" y="1320545"/>
            <a:ext cx="3207657" cy="3173759"/>
          </a:xfrm>
          <a:custGeom>
            <a:avLst/>
            <a:gdLst>
              <a:gd name="connsiteX0" fmla="*/ 0 w 6415314"/>
              <a:gd name="connsiteY0" fmla="*/ 3173759 h 6347517"/>
              <a:gd name="connsiteX1" fmla="*/ 3207657 w 6415314"/>
              <a:gd name="connsiteY1" fmla="*/ 0 h 6347517"/>
              <a:gd name="connsiteX2" fmla="*/ 6415314 w 6415314"/>
              <a:gd name="connsiteY2" fmla="*/ 3173759 h 6347517"/>
              <a:gd name="connsiteX3" fmla="*/ 3207657 w 6415314"/>
              <a:gd name="connsiteY3" fmla="*/ 6347518 h 6347517"/>
              <a:gd name="connsiteX4" fmla="*/ 0 w 6415314"/>
              <a:gd name="connsiteY4" fmla="*/ 3173759 h 6347517"/>
              <a:gd name="connsiteX0" fmla="*/ 6415314 w 6506754"/>
              <a:gd name="connsiteY0" fmla="*/ 3173759 h 6347518"/>
              <a:gd name="connsiteX1" fmla="*/ 3207657 w 6506754"/>
              <a:gd name="connsiteY1" fmla="*/ 6347518 h 6347518"/>
              <a:gd name="connsiteX2" fmla="*/ 0 w 6506754"/>
              <a:gd name="connsiteY2" fmla="*/ 3173759 h 6347518"/>
              <a:gd name="connsiteX3" fmla="*/ 3207657 w 6506754"/>
              <a:gd name="connsiteY3" fmla="*/ 0 h 6347518"/>
              <a:gd name="connsiteX4" fmla="*/ 6506754 w 6506754"/>
              <a:gd name="connsiteY4" fmla="*/ 3265199 h 6347518"/>
              <a:gd name="connsiteX0" fmla="*/ 3207657 w 6506754"/>
              <a:gd name="connsiteY0" fmla="*/ 6347518 h 6347518"/>
              <a:gd name="connsiteX1" fmla="*/ 0 w 6506754"/>
              <a:gd name="connsiteY1" fmla="*/ 3173759 h 6347518"/>
              <a:gd name="connsiteX2" fmla="*/ 3207657 w 6506754"/>
              <a:gd name="connsiteY2" fmla="*/ 0 h 6347518"/>
              <a:gd name="connsiteX3" fmla="*/ 6506754 w 6506754"/>
              <a:gd name="connsiteY3" fmla="*/ 3265199 h 6347518"/>
              <a:gd name="connsiteX0" fmla="*/ 0 w 6506754"/>
              <a:gd name="connsiteY0" fmla="*/ 3173759 h 3265199"/>
              <a:gd name="connsiteX1" fmla="*/ 3207657 w 6506754"/>
              <a:gd name="connsiteY1" fmla="*/ 0 h 3265199"/>
              <a:gd name="connsiteX2" fmla="*/ 6506754 w 6506754"/>
              <a:gd name="connsiteY2" fmla="*/ 3265199 h 3265199"/>
              <a:gd name="connsiteX0" fmla="*/ 0 w 3207657"/>
              <a:gd name="connsiteY0" fmla="*/ 3173759 h 3173759"/>
              <a:gd name="connsiteX1" fmla="*/ 3207657 w 3207657"/>
              <a:gd name="connsiteY1" fmla="*/ 0 h 31737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207657" h="3173759">
                <a:moveTo>
                  <a:pt x="0" y="3173759"/>
                </a:moveTo>
                <a:cubicBezTo>
                  <a:pt x="0" y="1420940"/>
                  <a:pt x="1436117" y="0"/>
                  <a:pt x="3207657" y="0"/>
                </a:cubicBezTo>
              </a:path>
            </a:pathLst>
          </a:cu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67"/>
          </a:p>
        </p:txBody>
      </p:sp>
      <p:sp>
        <p:nvSpPr>
          <p:cNvPr id="3" name="Ellipse 4">
            <a:extLst>
              <a:ext uri="{FF2B5EF4-FFF2-40B4-BE49-F238E27FC236}">
                <a16:creationId xmlns:a16="http://schemas.microsoft.com/office/drawing/2014/main" id="{91889083-A616-34E8-22A7-71DA82E7407F}"/>
              </a:ext>
            </a:extLst>
          </p:cNvPr>
          <p:cNvSpPr/>
          <p:nvPr/>
        </p:nvSpPr>
        <p:spPr>
          <a:xfrm rot="2613241">
            <a:off x="3996758" y="957338"/>
            <a:ext cx="3987981" cy="3061309"/>
          </a:xfrm>
          <a:custGeom>
            <a:avLst/>
            <a:gdLst>
              <a:gd name="connsiteX0" fmla="*/ 0 w 6415314"/>
              <a:gd name="connsiteY0" fmla="*/ 3173400 h 6346800"/>
              <a:gd name="connsiteX1" fmla="*/ 3207657 w 6415314"/>
              <a:gd name="connsiteY1" fmla="*/ 0 h 6346800"/>
              <a:gd name="connsiteX2" fmla="*/ 6415314 w 6415314"/>
              <a:gd name="connsiteY2" fmla="*/ 3173400 h 6346800"/>
              <a:gd name="connsiteX3" fmla="*/ 3207657 w 6415314"/>
              <a:gd name="connsiteY3" fmla="*/ 6346800 h 6346800"/>
              <a:gd name="connsiteX4" fmla="*/ 0 w 6415314"/>
              <a:gd name="connsiteY4" fmla="*/ 3173400 h 6346800"/>
              <a:gd name="connsiteX0" fmla="*/ 0 w 6504479"/>
              <a:gd name="connsiteY0" fmla="*/ 396675 h 3570075"/>
              <a:gd name="connsiteX1" fmla="*/ 6415314 w 6504479"/>
              <a:gd name="connsiteY1" fmla="*/ 396675 h 3570075"/>
              <a:gd name="connsiteX2" fmla="*/ 3207657 w 6504479"/>
              <a:gd name="connsiteY2" fmla="*/ 3570075 h 3570075"/>
              <a:gd name="connsiteX3" fmla="*/ 0 w 6504479"/>
              <a:gd name="connsiteY3" fmla="*/ 396675 h 3570075"/>
              <a:gd name="connsiteX0" fmla="*/ 0 w 3207657"/>
              <a:gd name="connsiteY0" fmla="*/ 0 h 3173400"/>
              <a:gd name="connsiteX1" fmla="*/ 3207657 w 3207657"/>
              <a:gd name="connsiteY1" fmla="*/ 3173400 h 3173400"/>
              <a:gd name="connsiteX2" fmla="*/ 0 w 3207657"/>
              <a:gd name="connsiteY2" fmla="*/ 0 h 3173400"/>
              <a:gd name="connsiteX0" fmla="*/ 0 w 3207657"/>
              <a:gd name="connsiteY0" fmla="*/ 0 h 3173400"/>
              <a:gd name="connsiteX1" fmla="*/ 3207657 w 3207657"/>
              <a:gd name="connsiteY1" fmla="*/ 3173400 h 3173400"/>
              <a:gd name="connsiteX2" fmla="*/ 91440 w 3207657"/>
              <a:gd name="connsiteY2" fmla="*/ 91440 h 3173400"/>
              <a:gd name="connsiteX0" fmla="*/ 2073350 w 3187498"/>
              <a:gd name="connsiteY0" fmla="*/ 0 h 3440456"/>
              <a:gd name="connsiteX1" fmla="*/ 3118361 w 3187498"/>
              <a:gd name="connsiteY1" fmla="*/ 3438724 h 3440456"/>
              <a:gd name="connsiteX2" fmla="*/ 2144 w 3187498"/>
              <a:gd name="connsiteY2" fmla="*/ 356764 h 3440456"/>
              <a:gd name="connsiteX0" fmla="*/ 3118361 w 3118361"/>
              <a:gd name="connsiteY0" fmla="*/ 3081960 h 3083692"/>
              <a:gd name="connsiteX1" fmla="*/ 2144 w 3118361"/>
              <a:gd name="connsiteY1" fmla="*/ 0 h 3083692"/>
              <a:gd name="connsiteX0" fmla="*/ 3116217 w 3116217"/>
              <a:gd name="connsiteY0" fmla="*/ 3081960 h 3089648"/>
              <a:gd name="connsiteX1" fmla="*/ 0 w 3116217"/>
              <a:gd name="connsiteY1" fmla="*/ 0 h 3089648"/>
              <a:gd name="connsiteX0" fmla="*/ 3116217 w 3116217"/>
              <a:gd name="connsiteY0" fmla="*/ 3081960 h 3093774"/>
              <a:gd name="connsiteX1" fmla="*/ 0 w 3116217"/>
              <a:gd name="connsiteY1" fmla="*/ 0 h 3093774"/>
              <a:gd name="connsiteX0" fmla="*/ 3894995 w 3894995"/>
              <a:gd name="connsiteY0" fmla="*/ 3087709 h 3099330"/>
              <a:gd name="connsiteX1" fmla="*/ 0 w 3894995"/>
              <a:gd name="connsiteY1" fmla="*/ 0 h 3099330"/>
              <a:gd name="connsiteX0" fmla="*/ 3894995 w 3894995"/>
              <a:gd name="connsiteY0" fmla="*/ 3087709 h 3252616"/>
              <a:gd name="connsiteX1" fmla="*/ 0 w 3894995"/>
              <a:gd name="connsiteY1" fmla="*/ 0 h 3252616"/>
              <a:gd name="connsiteX0" fmla="*/ 3894995 w 3894995"/>
              <a:gd name="connsiteY0" fmla="*/ 3087709 h 3258173"/>
              <a:gd name="connsiteX1" fmla="*/ 0 w 3894995"/>
              <a:gd name="connsiteY1" fmla="*/ 0 h 3258173"/>
              <a:gd name="connsiteX0" fmla="*/ 3894995 w 3894995"/>
              <a:gd name="connsiteY0" fmla="*/ 3087709 h 3148707"/>
              <a:gd name="connsiteX1" fmla="*/ 0 w 3894995"/>
              <a:gd name="connsiteY1" fmla="*/ 0 h 3148707"/>
              <a:gd name="connsiteX0" fmla="*/ 3894995 w 3894995"/>
              <a:gd name="connsiteY0" fmla="*/ 3087709 h 3171516"/>
              <a:gd name="connsiteX1" fmla="*/ 0 w 3894995"/>
              <a:gd name="connsiteY1" fmla="*/ 0 h 3171516"/>
              <a:gd name="connsiteX0" fmla="*/ 3894995 w 3894995"/>
              <a:gd name="connsiteY0" fmla="*/ 3087709 h 3174264"/>
              <a:gd name="connsiteX1" fmla="*/ 0 w 3894995"/>
              <a:gd name="connsiteY1" fmla="*/ 0 h 3174264"/>
              <a:gd name="connsiteX0" fmla="*/ 3894995 w 3894995"/>
              <a:gd name="connsiteY0" fmla="*/ 3087709 h 3156052"/>
              <a:gd name="connsiteX1" fmla="*/ 0 w 3894995"/>
              <a:gd name="connsiteY1" fmla="*/ 0 h 3156052"/>
              <a:gd name="connsiteX0" fmla="*/ 3987981 w 3987981"/>
              <a:gd name="connsiteY0" fmla="*/ 2985737 h 3061309"/>
              <a:gd name="connsiteX1" fmla="*/ 0 w 3987981"/>
              <a:gd name="connsiteY1" fmla="*/ 0 h 3061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987981" h="3061309">
                <a:moveTo>
                  <a:pt x="3987981" y="2985737"/>
                </a:moveTo>
                <a:cubicBezTo>
                  <a:pt x="2698358" y="3264771"/>
                  <a:pt x="427278" y="2877433"/>
                  <a:pt x="0" y="0"/>
                </a:cubicBezTo>
              </a:path>
            </a:pathLst>
          </a:cu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67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4780C05-A3F0-0C10-96CB-65BFAA0CACFC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2492" y="3738213"/>
            <a:ext cx="792000" cy="931764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6FBC16C9-923D-6255-271D-99A39BFF40C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8914" y="470684"/>
            <a:ext cx="1826248" cy="558017"/>
          </a:xfrm>
          <a:prstGeom prst="rect">
            <a:avLst/>
          </a:prstGeom>
        </p:spPr>
      </p:pic>
      <p:sp>
        <p:nvSpPr>
          <p:cNvPr id="14" name="Titre 1">
            <a:extLst>
              <a:ext uri="{FF2B5EF4-FFF2-40B4-BE49-F238E27FC236}">
                <a16:creationId xmlns:a16="http://schemas.microsoft.com/office/drawing/2014/main" id="{CFABFB0F-3B61-4CF2-9A67-DB91C118E5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2493" y="2067322"/>
            <a:ext cx="4129520" cy="664798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defRPr lang="en-US" sz="2400" b="1" i="0" cap="all" spc="0" baseline="0" noProof="0" dirty="0">
                <a:effectLst/>
                <a:latin typeface="3DS V2" pitchFamily="2" charset="0"/>
                <a:cs typeface="3DS V2" pitchFamily="2" charset="0"/>
              </a:defRPr>
            </a:lvl1pPr>
          </a:lstStyle>
          <a:p>
            <a:pPr lvl="0"/>
            <a:r>
              <a:rPr lang="en-US" noProof="0" dirty="0"/>
              <a:t>THIS IS THE TITLE OF THE PRESENTATIO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313F780-5FBD-452C-9BD8-D1D33E0EC8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2493" y="2845346"/>
            <a:ext cx="4129520" cy="2308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kern="900" spc="0" baseline="0">
                <a:solidFill>
                  <a:schemeClr val="tx1"/>
                </a:solidFill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is is the sub-title of the presentation</a:t>
            </a: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8F69A22C-69B3-4A24-81FF-D29C2DBDA658}"/>
              </a:ext>
            </a:extLst>
          </p:cNvPr>
          <p:cNvSpPr/>
          <p:nvPr/>
        </p:nvSpPr>
        <p:spPr>
          <a:xfrm>
            <a:off x="5114926" y="2"/>
            <a:ext cx="4029074" cy="5143499"/>
          </a:xfrm>
          <a:custGeom>
            <a:avLst/>
            <a:gdLst>
              <a:gd name="connsiteX0" fmla="*/ 1238998 w 4029074"/>
              <a:gd name="connsiteY0" fmla="*/ 0 h 5143499"/>
              <a:gd name="connsiteX1" fmla="*/ 4029074 w 4029074"/>
              <a:gd name="connsiteY1" fmla="*/ 0 h 5143499"/>
              <a:gd name="connsiteX2" fmla="*/ 4029074 w 4029074"/>
              <a:gd name="connsiteY2" fmla="*/ 842036 h 5143499"/>
              <a:gd name="connsiteX3" fmla="*/ 4029074 w 4029074"/>
              <a:gd name="connsiteY3" fmla="*/ 1941749 h 5143499"/>
              <a:gd name="connsiteX4" fmla="*/ 4029074 w 4029074"/>
              <a:gd name="connsiteY4" fmla="*/ 3201749 h 5143499"/>
              <a:gd name="connsiteX5" fmla="*/ 4029074 w 4029074"/>
              <a:gd name="connsiteY5" fmla="*/ 3743118 h 5143499"/>
              <a:gd name="connsiteX6" fmla="*/ 4029074 w 4029074"/>
              <a:gd name="connsiteY6" fmla="*/ 5143499 h 5143499"/>
              <a:gd name="connsiteX7" fmla="*/ 1238998 w 4029074"/>
              <a:gd name="connsiteY7" fmla="*/ 5143499 h 5143499"/>
              <a:gd name="connsiteX8" fmla="*/ 1223084 w 4029074"/>
              <a:gd name="connsiteY8" fmla="*/ 5130964 h 5143499"/>
              <a:gd name="connsiteX9" fmla="*/ 0 w 4029074"/>
              <a:gd name="connsiteY9" fmla="*/ 2571750 h 5143499"/>
              <a:gd name="connsiteX10" fmla="*/ 1223083 w 4029074"/>
              <a:gd name="connsiteY10" fmla="*/ 12537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029074" h="5143499">
                <a:moveTo>
                  <a:pt x="1238998" y="0"/>
                </a:moveTo>
                <a:lnTo>
                  <a:pt x="4029074" y="0"/>
                </a:lnTo>
                <a:lnTo>
                  <a:pt x="4029074" y="842036"/>
                </a:lnTo>
                <a:lnTo>
                  <a:pt x="4029074" y="1941749"/>
                </a:lnTo>
                <a:lnTo>
                  <a:pt x="4029074" y="3201749"/>
                </a:lnTo>
                <a:lnTo>
                  <a:pt x="4029074" y="3743118"/>
                </a:lnTo>
                <a:lnTo>
                  <a:pt x="4029074" y="5143499"/>
                </a:lnTo>
                <a:lnTo>
                  <a:pt x="1238998" y="5143499"/>
                </a:lnTo>
                <a:lnTo>
                  <a:pt x="1223084" y="5130964"/>
                </a:lnTo>
                <a:cubicBezTo>
                  <a:pt x="467400" y="4476004"/>
                  <a:pt x="0" y="3571185"/>
                  <a:pt x="0" y="2571750"/>
                </a:cubicBezTo>
                <a:cubicBezTo>
                  <a:pt x="0" y="1572315"/>
                  <a:pt x="467400" y="667497"/>
                  <a:pt x="1223083" y="12537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2267" noProof="0">
              <a:solidFill>
                <a:schemeClr val="tx1"/>
              </a:solidFill>
            </a:endParaRPr>
          </a:p>
        </p:txBody>
      </p:sp>
      <p:cxnSp>
        <p:nvCxnSpPr>
          <p:cNvPr id="11" name="Connecteur droit 8">
            <a:extLst>
              <a:ext uri="{FF2B5EF4-FFF2-40B4-BE49-F238E27FC236}">
                <a16:creationId xmlns:a16="http://schemas.microsoft.com/office/drawing/2014/main" id="{1E134866-0D48-4B80-B4A7-7A3C96A9A681}"/>
              </a:ext>
            </a:extLst>
          </p:cNvPr>
          <p:cNvCxnSpPr>
            <a:cxnSpLocks/>
          </p:cNvCxnSpPr>
          <p:nvPr/>
        </p:nvCxnSpPr>
        <p:spPr>
          <a:xfrm>
            <a:off x="177217" y="321750"/>
            <a:ext cx="0" cy="45000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12">
            <a:extLst>
              <a:ext uri="{FF2B5EF4-FFF2-40B4-BE49-F238E27FC236}">
                <a16:creationId xmlns:a16="http://schemas.microsoft.com/office/drawing/2014/main" id="{5A44A965-6A17-2B89-7F1D-51C842DECAB5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600" noProof="1"/>
              <a:t>© Dassault Systèmes | Confidential Information | 2024 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2C926BEE-41F1-B9DC-6EA9-583445BD44D2}"/>
              </a:ext>
            </a:extLst>
          </p:cNvPr>
          <p:cNvSpPr/>
          <p:nvPr userDrawn="1"/>
        </p:nvSpPr>
        <p:spPr>
          <a:xfrm>
            <a:off x="5114926" y="2"/>
            <a:ext cx="4029074" cy="5143499"/>
          </a:xfrm>
          <a:custGeom>
            <a:avLst/>
            <a:gdLst>
              <a:gd name="connsiteX0" fmla="*/ 1238998 w 4029074"/>
              <a:gd name="connsiteY0" fmla="*/ 0 h 5143499"/>
              <a:gd name="connsiteX1" fmla="*/ 4029074 w 4029074"/>
              <a:gd name="connsiteY1" fmla="*/ 0 h 5143499"/>
              <a:gd name="connsiteX2" fmla="*/ 4029074 w 4029074"/>
              <a:gd name="connsiteY2" fmla="*/ 842036 h 5143499"/>
              <a:gd name="connsiteX3" fmla="*/ 4029074 w 4029074"/>
              <a:gd name="connsiteY3" fmla="*/ 1941749 h 5143499"/>
              <a:gd name="connsiteX4" fmla="*/ 4029074 w 4029074"/>
              <a:gd name="connsiteY4" fmla="*/ 3201749 h 5143499"/>
              <a:gd name="connsiteX5" fmla="*/ 4029074 w 4029074"/>
              <a:gd name="connsiteY5" fmla="*/ 3743118 h 5143499"/>
              <a:gd name="connsiteX6" fmla="*/ 4029074 w 4029074"/>
              <a:gd name="connsiteY6" fmla="*/ 5143499 h 5143499"/>
              <a:gd name="connsiteX7" fmla="*/ 1238998 w 4029074"/>
              <a:gd name="connsiteY7" fmla="*/ 5143499 h 5143499"/>
              <a:gd name="connsiteX8" fmla="*/ 1223084 w 4029074"/>
              <a:gd name="connsiteY8" fmla="*/ 5130964 h 5143499"/>
              <a:gd name="connsiteX9" fmla="*/ 0 w 4029074"/>
              <a:gd name="connsiteY9" fmla="*/ 2571750 h 5143499"/>
              <a:gd name="connsiteX10" fmla="*/ 1223083 w 4029074"/>
              <a:gd name="connsiteY10" fmla="*/ 12537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029074" h="5143499">
                <a:moveTo>
                  <a:pt x="1238998" y="0"/>
                </a:moveTo>
                <a:lnTo>
                  <a:pt x="4029074" y="0"/>
                </a:lnTo>
                <a:lnTo>
                  <a:pt x="4029074" y="842036"/>
                </a:lnTo>
                <a:lnTo>
                  <a:pt x="4029074" y="1941749"/>
                </a:lnTo>
                <a:lnTo>
                  <a:pt x="4029074" y="3201749"/>
                </a:lnTo>
                <a:lnTo>
                  <a:pt x="4029074" y="3743118"/>
                </a:lnTo>
                <a:lnTo>
                  <a:pt x="4029074" y="5143499"/>
                </a:lnTo>
                <a:lnTo>
                  <a:pt x="1238998" y="5143499"/>
                </a:lnTo>
                <a:lnTo>
                  <a:pt x="1223084" y="5130964"/>
                </a:lnTo>
                <a:cubicBezTo>
                  <a:pt x="467400" y="4476004"/>
                  <a:pt x="0" y="3571185"/>
                  <a:pt x="0" y="2571750"/>
                </a:cubicBezTo>
                <a:cubicBezTo>
                  <a:pt x="0" y="1572315"/>
                  <a:pt x="467400" y="667497"/>
                  <a:pt x="1223083" y="12537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2267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93201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pactful message V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rme libre 3">
            <a:extLst>
              <a:ext uri="{FF2B5EF4-FFF2-40B4-BE49-F238E27FC236}">
                <a16:creationId xmlns:a16="http://schemas.microsoft.com/office/drawing/2014/main" id="{7B0A659F-EFD1-444F-9E43-8DE421EF2903}"/>
              </a:ext>
            </a:extLst>
          </p:cNvPr>
          <p:cNvSpPr/>
          <p:nvPr/>
        </p:nvSpPr>
        <p:spPr>
          <a:xfrm>
            <a:off x="5426319" y="0"/>
            <a:ext cx="3717682" cy="5143500"/>
          </a:xfrm>
          <a:custGeom>
            <a:avLst/>
            <a:gdLst>
              <a:gd name="connsiteX0" fmla="*/ 893329 w 3717682"/>
              <a:gd name="connsiteY0" fmla="*/ 0 h 5143500"/>
              <a:gd name="connsiteX1" fmla="*/ 3717682 w 3717682"/>
              <a:gd name="connsiteY1" fmla="*/ 0 h 5143500"/>
              <a:gd name="connsiteX2" fmla="*/ 3717682 w 3717682"/>
              <a:gd name="connsiteY2" fmla="*/ 5143500 h 5143500"/>
              <a:gd name="connsiteX3" fmla="*/ 1175798 w 3717682"/>
              <a:gd name="connsiteY3" fmla="*/ 5143500 h 5143500"/>
              <a:gd name="connsiteX4" fmla="*/ 1096714 w 3717682"/>
              <a:gd name="connsiteY4" fmla="*/ 5071624 h 5143500"/>
              <a:gd name="connsiteX5" fmla="*/ 0 w 3717682"/>
              <a:gd name="connsiteY5" fmla="*/ 2423922 h 5143500"/>
              <a:gd name="connsiteX6" fmla="*/ 855043 w 3717682"/>
              <a:gd name="connsiteY6" fmla="*/ 42126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17682" h="5143500">
                <a:moveTo>
                  <a:pt x="893329" y="0"/>
                </a:moveTo>
                <a:lnTo>
                  <a:pt x="3717682" y="0"/>
                </a:lnTo>
                <a:lnTo>
                  <a:pt x="3717682" y="5143500"/>
                </a:lnTo>
                <a:lnTo>
                  <a:pt x="1175798" y="5143500"/>
                </a:lnTo>
                <a:lnTo>
                  <a:pt x="1096714" y="5071624"/>
                </a:lnTo>
                <a:cubicBezTo>
                  <a:pt x="419108" y="4394018"/>
                  <a:pt x="0" y="3457914"/>
                  <a:pt x="0" y="2423922"/>
                </a:cubicBezTo>
                <a:cubicBezTo>
                  <a:pt x="0" y="1519179"/>
                  <a:pt x="320880" y="689382"/>
                  <a:pt x="855043" y="42126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2267" noProof="0">
              <a:solidFill>
                <a:schemeClr val="tx1"/>
              </a:solidFill>
            </a:endParaRPr>
          </a:p>
        </p:txBody>
      </p:sp>
      <p:sp>
        <p:nvSpPr>
          <p:cNvPr id="17" name="ZoneTexte 7">
            <a:extLst>
              <a:ext uri="{FF2B5EF4-FFF2-40B4-BE49-F238E27FC236}">
                <a16:creationId xmlns:a16="http://schemas.microsoft.com/office/drawing/2014/main" id="{20FAB314-069B-7245-9CD1-1E8C141EB995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cxnSp>
        <p:nvCxnSpPr>
          <p:cNvPr id="29" name="Connecteur droit 8">
            <a:extLst>
              <a:ext uri="{FF2B5EF4-FFF2-40B4-BE49-F238E27FC236}">
                <a16:creationId xmlns:a16="http://schemas.microsoft.com/office/drawing/2014/main" id="{4C4DEE83-04EA-447C-BE7B-2CEB490676BA}"/>
              </a:ext>
            </a:extLst>
          </p:cNvPr>
          <p:cNvCxnSpPr>
            <a:cxnSpLocks/>
          </p:cNvCxnSpPr>
          <p:nvPr/>
        </p:nvCxnSpPr>
        <p:spPr>
          <a:xfrm>
            <a:off x="177217" y="323850"/>
            <a:ext cx="0" cy="44979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>
            <a:extLst>
              <a:ext uri="{FF2B5EF4-FFF2-40B4-BE49-F238E27FC236}">
                <a16:creationId xmlns:a16="http://schemas.microsoft.com/office/drawing/2014/main" id="{6A92616C-3082-4BF8-82D6-4E39B7D717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37292" y="0"/>
            <a:ext cx="1649740" cy="2617520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BDCD690-2E7F-47AF-9C94-AEDA86A481C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801994" y="1620839"/>
            <a:ext cx="2996226" cy="19061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None/>
              <a:defRPr sz="2000" i="1"/>
            </a:lvl1pPr>
            <a:lvl2pPr marL="345591" indent="-172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 Narrow" panose="020B0606020202030204" pitchFamily="34" charset="0"/>
              <a:buChar char="-"/>
              <a:defRPr sz="1200"/>
            </a:lvl2pPr>
            <a:lvl3pPr marL="518387" indent="-172796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Char char="▪"/>
              <a:defRPr sz="1100"/>
            </a:lvl3pPr>
            <a:lvl4pPr marL="691183" indent="-17279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4pPr>
          </a:lstStyle>
          <a:p>
            <a:pPr lvl="0"/>
            <a:r>
              <a:rPr lang="en-US" noProof="0" dirty="0"/>
              <a:t>Sit at </a:t>
            </a:r>
            <a:r>
              <a:rPr lang="en-US" noProof="0" dirty="0" err="1"/>
              <a:t>velit</a:t>
            </a:r>
            <a:r>
              <a:rPr lang="en-US" noProof="0" dirty="0"/>
              <a:t> </a:t>
            </a:r>
            <a:r>
              <a:rPr lang="en-US" noProof="0" dirty="0" err="1"/>
              <a:t>periculis</a:t>
            </a:r>
            <a:r>
              <a:rPr lang="en-US" noProof="0" dirty="0"/>
              <a:t>. </a:t>
            </a:r>
            <a:r>
              <a:rPr lang="en-US" noProof="0" dirty="0" err="1"/>
              <a:t>Usu</a:t>
            </a:r>
            <a:r>
              <a:rPr lang="en-US" noProof="0" dirty="0"/>
              <a:t> </a:t>
            </a:r>
            <a:r>
              <a:rPr lang="en-US" noProof="0" dirty="0" err="1"/>
              <a:t>ferri</a:t>
            </a:r>
            <a:r>
              <a:rPr lang="en-US" noProof="0" dirty="0"/>
              <a:t> </a:t>
            </a:r>
            <a:r>
              <a:rPr lang="en-US" noProof="0" dirty="0" err="1"/>
              <a:t>invenire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ea. Sed maiorum </a:t>
            </a:r>
            <a:r>
              <a:rPr lang="en-US" noProof="0" dirty="0" err="1"/>
              <a:t>legendos</a:t>
            </a:r>
            <a:r>
              <a:rPr lang="en-US" noProof="0" dirty="0"/>
              <a:t> </a:t>
            </a:r>
            <a:r>
              <a:rPr lang="en-US" noProof="0" dirty="0" err="1"/>
              <a:t>ea</a:t>
            </a:r>
            <a:r>
              <a:rPr lang="en-US" noProof="0" dirty="0"/>
              <a:t>, sit at </a:t>
            </a:r>
            <a:r>
              <a:rPr lang="en-US" noProof="0" dirty="0" err="1"/>
              <a:t>sonet</a:t>
            </a:r>
            <a:r>
              <a:rPr lang="en-US" noProof="0" dirty="0"/>
              <a:t> </a:t>
            </a:r>
            <a:r>
              <a:rPr lang="en-US" noProof="0" dirty="0" err="1"/>
              <a:t>molestie</a:t>
            </a:r>
            <a:r>
              <a:rPr lang="en-US" noProof="0" dirty="0"/>
              <a:t>. Et </a:t>
            </a:r>
            <a:r>
              <a:rPr lang="en-US" noProof="0" dirty="0" err="1"/>
              <a:t>vero</a:t>
            </a:r>
            <a:r>
              <a:rPr lang="en-US" noProof="0" dirty="0"/>
              <a:t> brute </a:t>
            </a:r>
            <a:r>
              <a:rPr lang="en-US" noProof="0" dirty="0" err="1"/>
              <a:t>eum</a:t>
            </a:r>
            <a:r>
              <a:rPr lang="en-US" noProof="0" dirty="0"/>
              <a:t>, eros </a:t>
            </a:r>
            <a:r>
              <a:rPr lang="en-US" noProof="0" dirty="0" err="1"/>
              <a:t>aliquip</a:t>
            </a:r>
            <a:r>
              <a:rPr lang="en-US" noProof="0" dirty="0"/>
              <a:t> at vel, magna </a:t>
            </a:r>
            <a:r>
              <a:rPr lang="en-US" noProof="0" dirty="0" err="1"/>
              <a:t>causae</a:t>
            </a:r>
            <a:r>
              <a:rPr lang="en-US" noProof="0" dirty="0"/>
              <a:t> pro </a:t>
            </a:r>
            <a:r>
              <a:rPr lang="en-US" noProof="0" dirty="0" err="1"/>
              <a:t>te</a:t>
            </a:r>
            <a:r>
              <a:rPr lang="en-US" noProof="0" dirty="0"/>
              <a:t>.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2F6725DF-3957-A141-AB2D-F17326E0B49A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6" name="Footer Placeholder 12">
            <a:extLst>
              <a:ext uri="{FF2B5EF4-FFF2-40B4-BE49-F238E27FC236}">
                <a16:creationId xmlns:a16="http://schemas.microsoft.com/office/drawing/2014/main" id="{E4A0D040-1DF0-0411-1712-FDA5AA4F7686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>
                <a:solidFill>
                  <a:schemeClr val="bg1"/>
                </a:solidFill>
              </a:rPr>
              <a:t>© Dassault Systèmes | Confidential Information | 2024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030E9AA-A1BA-3878-A452-D2AF65C4E9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37292" y="0"/>
            <a:ext cx="1649740" cy="2617520"/>
          </a:xfrm>
          <a:prstGeom prst="rect">
            <a:avLst/>
          </a:prstGeom>
        </p:spPr>
      </p:pic>
      <p:sp>
        <p:nvSpPr>
          <p:cNvPr id="9" name="Footer Placeholder 12">
            <a:extLst>
              <a:ext uri="{FF2B5EF4-FFF2-40B4-BE49-F238E27FC236}">
                <a16:creationId xmlns:a16="http://schemas.microsoft.com/office/drawing/2014/main" id="{158283F8-3997-C28D-9A22-A502BEF77412}"/>
              </a:ext>
            </a:extLst>
          </p:cNvPr>
          <p:cNvSpPr txBox="1">
            <a:spLocks/>
          </p:cNvSpPr>
          <p:nvPr userDrawn="1"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>
                <a:solidFill>
                  <a:schemeClr val="bg1"/>
                </a:solidFill>
              </a:rPr>
              <a:t>© Dassault Systèmes | Confidential Information | 2024 </a:t>
            </a:r>
          </a:p>
        </p:txBody>
      </p:sp>
    </p:spTree>
    <p:extLst>
      <p:ext uri="{BB962C8B-B14F-4D97-AF65-F5344CB8AC3E}">
        <p14:creationId xmlns:p14="http://schemas.microsoft.com/office/powerpoint/2010/main" val="6673069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pactful message V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9">
            <a:extLst>
              <a:ext uri="{FF2B5EF4-FFF2-40B4-BE49-F238E27FC236}">
                <a16:creationId xmlns:a16="http://schemas.microsoft.com/office/drawing/2014/main" id="{D8B264AA-DF84-9C68-5724-58E6F21898E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86282" y="1705571"/>
            <a:ext cx="528182" cy="528182"/>
          </a:xfrm>
          <a:prstGeom prst="rect">
            <a:avLst/>
          </a:prstGeom>
        </p:spPr>
      </p:pic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id="{711D59F2-F966-4BE3-BB2C-A1FB4C0C845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426318" y="2"/>
            <a:ext cx="3717682" cy="5143499"/>
          </a:xfrm>
          <a:custGeom>
            <a:avLst/>
            <a:gdLst>
              <a:gd name="connsiteX0" fmla="*/ 3243187 w 3717682"/>
              <a:gd name="connsiteY0" fmla="*/ 4869228 h 5143499"/>
              <a:gd name="connsiteX1" fmla="*/ 3238365 w 3717682"/>
              <a:gd name="connsiteY1" fmla="*/ 4873182 h 5143499"/>
              <a:gd name="connsiteX2" fmla="*/ 3238374 w 3717682"/>
              <a:gd name="connsiteY2" fmla="*/ 4873182 h 5143499"/>
              <a:gd name="connsiteX3" fmla="*/ 3227066 w 3717682"/>
              <a:gd name="connsiteY3" fmla="*/ 4930787 h 5143499"/>
              <a:gd name="connsiteX4" fmla="*/ 3284505 w 3717682"/>
              <a:gd name="connsiteY4" fmla="*/ 4930787 h 5143499"/>
              <a:gd name="connsiteX5" fmla="*/ 3285694 w 3717682"/>
              <a:gd name="connsiteY5" fmla="*/ 4924630 h 5143499"/>
              <a:gd name="connsiteX6" fmla="*/ 3282706 w 3717682"/>
              <a:gd name="connsiteY6" fmla="*/ 4921282 h 5143499"/>
              <a:gd name="connsiteX7" fmla="*/ 3244546 w 3717682"/>
              <a:gd name="connsiteY7" fmla="*/ 4921282 h 5143499"/>
              <a:gd name="connsiteX8" fmla="*/ 3247789 w 3717682"/>
              <a:gd name="connsiteY8" fmla="*/ 4904760 h 5143499"/>
              <a:gd name="connsiteX9" fmla="*/ 3281509 w 3717682"/>
              <a:gd name="connsiteY9" fmla="*/ 4904760 h 5143499"/>
              <a:gd name="connsiteX10" fmla="*/ 3283334 w 3717682"/>
              <a:gd name="connsiteY10" fmla="*/ 4903297 h 5143499"/>
              <a:gd name="connsiteX11" fmla="*/ 3284624 w 3717682"/>
              <a:gd name="connsiteY11" fmla="*/ 4896744 h 5143499"/>
              <a:gd name="connsiteX12" fmla="*/ 3283376 w 3717682"/>
              <a:gd name="connsiteY12" fmla="*/ 4895280 h 5143499"/>
              <a:gd name="connsiteX13" fmla="*/ 3249639 w 3717682"/>
              <a:gd name="connsiteY13" fmla="*/ 4895280 h 5143499"/>
              <a:gd name="connsiteX14" fmla="*/ 3252865 w 3717682"/>
              <a:gd name="connsiteY14" fmla="*/ 4878792 h 5143499"/>
              <a:gd name="connsiteX15" fmla="*/ 3289684 w 3717682"/>
              <a:gd name="connsiteY15" fmla="*/ 4878792 h 5143499"/>
              <a:gd name="connsiteX16" fmla="*/ 3293589 w 3717682"/>
              <a:gd name="connsiteY16" fmla="*/ 4876488 h 5143499"/>
              <a:gd name="connsiteX17" fmla="*/ 3295015 w 3717682"/>
              <a:gd name="connsiteY17" fmla="*/ 4869228 h 5143499"/>
              <a:gd name="connsiteX18" fmla="*/ 3143539 w 3717682"/>
              <a:gd name="connsiteY18" fmla="*/ 4869228 h 5143499"/>
              <a:gd name="connsiteX19" fmla="*/ 3139481 w 3717682"/>
              <a:gd name="connsiteY19" fmla="*/ 4873182 h 5143499"/>
              <a:gd name="connsiteX20" fmla="*/ 3128173 w 3717682"/>
              <a:gd name="connsiteY20" fmla="*/ 4930787 h 5143499"/>
              <a:gd name="connsiteX21" fmla="*/ 3140126 w 3717682"/>
              <a:gd name="connsiteY21" fmla="*/ 4930787 h 5143499"/>
              <a:gd name="connsiteX22" fmla="*/ 3144481 w 3717682"/>
              <a:gd name="connsiteY22" fmla="*/ 4927246 h 5143499"/>
              <a:gd name="connsiteX23" fmla="*/ 3152945 w 3717682"/>
              <a:gd name="connsiteY23" fmla="*/ 4884134 h 5143499"/>
              <a:gd name="connsiteX24" fmla="*/ 3166681 w 3717682"/>
              <a:gd name="connsiteY24" fmla="*/ 4903549 h 5143499"/>
              <a:gd name="connsiteX25" fmla="*/ 3169958 w 3717682"/>
              <a:gd name="connsiteY25" fmla="*/ 4905425 h 5143499"/>
              <a:gd name="connsiteX26" fmla="*/ 3176138 w 3717682"/>
              <a:gd name="connsiteY26" fmla="*/ 4905425 h 5143499"/>
              <a:gd name="connsiteX27" fmla="*/ 3180162 w 3717682"/>
              <a:gd name="connsiteY27" fmla="*/ 4903549 h 5143499"/>
              <a:gd name="connsiteX28" fmla="*/ 3201504 w 3717682"/>
              <a:gd name="connsiteY28" fmla="*/ 4884134 h 5143499"/>
              <a:gd name="connsiteX29" fmla="*/ 3193040 w 3717682"/>
              <a:gd name="connsiteY29" fmla="*/ 4927246 h 5143499"/>
              <a:gd name="connsiteX30" fmla="*/ 3196012 w 3717682"/>
              <a:gd name="connsiteY30" fmla="*/ 4930787 h 5143499"/>
              <a:gd name="connsiteX31" fmla="*/ 3207956 w 3717682"/>
              <a:gd name="connsiteY31" fmla="*/ 4930787 h 5143499"/>
              <a:gd name="connsiteX32" fmla="*/ 3219273 w 3717682"/>
              <a:gd name="connsiteY32" fmla="*/ 4873190 h 5143499"/>
              <a:gd name="connsiteX33" fmla="*/ 3216768 w 3717682"/>
              <a:gd name="connsiteY33" fmla="*/ 4869228 h 5143499"/>
              <a:gd name="connsiteX34" fmla="*/ 3202693 w 3717682"/>
              <a:gd name="connsiteY34" fmla="*/ 4869228 h 5143499"/>
              <a:gd name="connsiteX35" fmla="*/ 3175442 w 3717682"/>
              <a:gd name="connsiteY35" fmla="*/ 4893227 h 5143499"/>
              <a:gd name="connsiteX36" fmla="*/ 3157614 w 3717682"/>
              <a:gd name="connsiteY36" fmla="*/ 4869228 h 5143499"/>
              <a:gd name="connsiteX37" fmla="*/ 3072703 w 3717682"/>
              <a:gd name="connsiteY37" fmla="*/ 4869228 h 5143499"/>
              <a:gd name="connsiteX38" fmla="*/ 3067872 w 3717682"/>
              <a:gd name="connsiteY38" fmla="*/ 4873182 h 5143499"/>
              <a:gd name="connsiteX39" fmla="*/ 3056581 w 3717682"/>
              <a:gd name="connsiteY39" fmla="*/ 4930787 h 5143499"/>
              <a:gd name="connsiteX40" fmla="*/ 3113995 w 3717682"/>
              <a:gd name="connsiteY40" fmla="*/ 4930787 h 5143499"/>
              <a:gd name="connsiteX41" fmla="*/ 3115209 w 3717682"/>
              <a:gd name="connsiteY41" fmla="*/ 4924630 h 5143499"/>
              <a:gd name="connsiteX42" fmla="*/ 3112196 w 3717682"/>
              <a:gd name="connsiteY42" fmla="*/ 4921282 h 5143499"/>
              <a:gd name="connsiteX43" fmla="*/ 3074053 w 3717682"/>
              <a:gd name="connsiteY43" fmla="*/ 4921282 h 5143499"/>
              <a:gd name="connsiteX44" fmla="*/ 3077287 w 3717682"/>
              <a:gd name="connsiteY44" fmla="*/ 4904760 h 5143499"/>
              <a:gd name="connsiteX45" fmla="*/ 3111007 w 3717682"/>
              <a:gd name="connsiteY45" fmla="*/ 4904760 h 5143499"/>
              <a:gd name="connsiteX46" fmla="*/ 3112841 w 3717682"/>
              <a:gd name="connsiteY46" fmla="*/ 4903297 h 5143499"/>
              <a:gd name="connsiteX47" fmla="*/ 3114131 w 3717682"/>
              <a:gd name="connsiteY47" fmla="*/ 4896744 h 5143499"/>
              <a:gd name="connsiteX48" fmla="*/ 3112875 w 3717682"/>
              <a:gd name="connsiteY48" fmla="*/ 4895280 h 5143499"/>
              <a:gd name="connsiteX49" fmla="*/ 3079146 w 3717682"/>
              <a:gd name="connsiteY49" fmla="*/ 4895280 h 5143499"/>
              <a:gd name="connsiteX50" fmla="*/ 3082389 w 3717682"/>
              <a:gd name="connsiteY50" fmla="*/ 4878792 h 5143499"/>
              <a:gd name="connsiteX51" fmla="*/ 3119199 w 3717682"/>
              <a:gd name="connsiteY51" fmla="*/ 4878792 h 5143499"/>
              <a:gd name="connsiteX52" fmla="*/ 3123122 w 3717682"/>
              <a:gd name="connsiteY52" fmla="*/ 4876488 h 5143499"/>
              <a:gd name="connsiteX53" fmla="*/ 3124531 w 3717682"/>
              <a:gd name="connsiteY53" fmla="*/ 4869228 h 5143499"/>
              <a:gd name="connsiteX54" fmla="*/ 2999626 w 3717682"/>
              <a:gd name="connsiteY54" fmla="*/ 4869228 h 5143499"/>
              <a:gd name="connsiteX55" fmla="*/ 2994346 w 3717682"/>
              <a:gd name="connsiteY55" fmla="*/ 4872559 h 5143499"/>
              <a:gd name="connsiteX56" fmla="*/ 2993115 w 3717682"/>
              <a:gd name="connsiteY56" fmla="*/ 4878767 h 5143499"/>
              <a:gd name="connsiteX57" fmla="*/ 3017581 w 3717682"/>
              <a:gd name="connsiteY57" fmla="*/ 4878767 h 5143499"/>
              <a:gd name="connsiteX58" fmla="*/ 3007394 w 3717682"/>
              <a:gd name="connsiteY58" fmla="*/ 4930787 h 5143499"/>
              <a:gd name="connsiteX59" fmla="*/ 3018362 w 3717682"/>
              <a:gd name="connsiteY59" fmla="*/ 4930787 h 5143499"/>
              <a:gd name="connsiteX60" fmla="*/ 3023863 w 3717682"/>
              <a:gd name="connsiteY60" fmla="*/ 4926413 h 5143499"/>
              <a:gd name="connsiteX61" fmla="*/ 3033202 w 3717682"/>
              <a:gd name="connsiteY61" fmla="*/ 4878767 h 5143499"/>
              <a:gd name="connsiteX62" fmla="*/ 3053627 w 3717682"/>
              <a:gd name="connsiteY62" fmla="*/ 4878767 h 5143499"/>
              <a:gd name="connsiteX63" fmla="*/ 3058025 w 3717682"/>
              <a:gd name="connsiteY63" fmla="*/ 4874999 h 5143499"/>
              <a:gd name="connsiteX64" fmla="*/ 3058025 w 3717682"/>
              <a:gd name="connsiteY64" fmla="*/ 4875007 h 5143499"/>
              <a:gd name="connsiteX65" fmla="*/ 3059162 w 3717682"/>
              <a:gd name="connsiteY65" fmla="*/ 4869228 h 5143499"/>
              <a:gd name="connsiteX66" fmla="*/ 2848319 w 3717682"/>
              <a:gd name="connsiteY66" fmla="*/ 4869228 h 5143499"/>
              <a:gd name="connsiteX67" fmla="*/ 2845407 w 3717682"/>
              <a:gd name="connsiteY67" fmla="*/ 4871306 h 5143499"/>
              <a:gd name="connsiteX68" fmla="*/ 2842096 w 3717682"/>
              <a:gd name="connsiteY68" fmla="*/ 4888214 h 5143499"/>
              <a:gd name="connsiteX69" fmla="*/ 2886403 w 3717682"/>
              <a:gd name="connsiteY69" fmla="*/ 4909925 h 5143499"/>
              <a:gd name="connsiteX70" fmla="*/ 2882302 w 3717682"/>
              <a:gd name="connsiteY70" fmla="*/ 4930787 h 5143499"/>
              <a:gd name="connsiteX71" fmla="*/ 2893279 w 3717682"/>
              <a:gd name="connsiteY71" fmla="*/ 4930787 h 5143499"/>
              <a:gd name="connsiteX72" fmla="*/ 2898780 w 3717682"/>
              <a:gd name="connsiteY72" fmla="*/ 4926413 h 5143499"/>
              <a:gd name="connsiteX73" fmla="*/ 2909986 w 3717682"/>
              <a:gd name="connsiteY73" fmla="*/ 4869228 h 5143499"/>
              <a:gd name="connsiteX74" fmla="*/ 2896692 w 3717682"/>
              <a:gd name="connsiteY74" fmla="*/ 4869228 h 5143499"/>
              <a:gd name="connsiteX75" fmla="*/ 2893984 w 3717682"/>
              <a:gd name="connsiteY75" fmla="*/ 4871306 h 5143499"/>
              <a:gd name="connsiteX76" fmla="*/ 2888465 w 3717682"/>
              <a:gd name="connsiteY76" fmla="*/ 4899335 h 5143499"/>
              <a:gd name="connsiteX77" fmla="*/ 2857785 w 3717682"/>
              <a:gd name="connsiteY77" fmla="*/ 4887802 h 5143499"/>
              <a:gd name="connsiteX78" fmla="*/ 2861435 w 3717682"/>
              <a:gd name="connsiteY78" fmla="*/ 4869228 h 5143499"/>
              <a:gd name="connsiteX79" fmla="*/ 3334041 w 3717682"/>
              <a:gd name="connsiteY79" fmla="*/ 4869051 h 5143499"/>
              <a:gd name="connsiteX80" fmla="*/ 3305279 w 3717682"/>
              <a:gd name="connsiteY80" fmla="*/ 4880811 h 5143499"/>
              <a:gd name="connsiteX81" fmla="*/ 3324143 w 3717682"/>
              <a:gd name="connsiteY81" fmla="*/ 4902212 h 5143499"/>
              <a:gd name="connsiteX82" fmla="*/ 3341410 w 3717682"/>
              <a:gd name="connsiteY82" fmla="*/ 4917185 h 5143499"/>
              <a:gd name="connsiteX83" fmla="*/ 3329482 w 3717682"/>
              <a:gd name="connsiteY83" fmla="*/ 4921315 h 5143499"/>
              <a:gd name="connsiteX84" fmla="*/ 3302410 w 3717682"/>
              <a:gd name="connsiteY84" fmla="*/ 4921315 h 5143499"/>
              <a:gd name="connsiteX85" fmla="*/ 3297010 w 3717682"/>
              <a:gd name="connsiteY85" fmla="*/ 4925294 h 5143499"/>
              <a:gd name="connsiteX86" fmla="*/ 3295941 w 3717682"/>
              <a:gd name="connsiteY86" fmla="*/ 4930787 h 5143499"/>
              <a:gd name="connsiteX87" fmla="*/ 3330068 w 3717682"/>
              <a:gd name="connsiteY87" fmla="*/ 4930787 h 5143499"/>
              <a:gd name="connsiteX88" fmla="*/ 3359017 w 3717682"/>
              <a:gd name="connsiteY88" fmla="*/ 4920373 h 5143499"/>
              <a:gd name="connsiteX89" fmla="*/ 3356513 w 3717682"/>
              <a:gd name="connsiteY89" fmla="*/ 4906283 h 5143499"/>
              <a:gd name="connsiteX90" fmla="*/ 3346818 w 3717682"/>
              <a:gd name="connsiteY90" fmla="*/ 4899335 h 5143499"/>
              <a:gd name="connsiteX91" fmla="*/ 3323472 w 3717682"/>
              <a:gd name="connsiteY91" fmla="*/ 4881854 h 5143499"/>
              <a:gd name="connsiteX92" fmla="*/ 3333574 w 3717682"/>
              <a:gd name="connsiteY92" fmla="*/ 4878767 h 5143499"/>
              <a:gd name="connsiteX93" fmla="*/ 3356462 w 3717682"/>
              <a:gd name="connsiteY93" fmla="*/ 4878767 h 5143499"/>
              <a:gd name="connsiteX94" fmla="*/ 3361853 w 3717682"/>
              <a:gd name="connsiteY94" fmla="*/ 4874797 h 5143499"/>
              <a:gd name="connsiteX95" fmla="*/ 3362990 w 3717682"/>
              <a:gd name="connsiteY95" fmla="*/ 4869051 h 5143499"/>
              <a:gd name="connsiteX96" fmla="*/ 2952612 w 3717682"/>
              <a:gd name="connsiteY96" fmla="*/ 4869051 h 5143499"/>
              <a:gd name="connsiteX97" fmla="*/ 2923866 w 3717682"/>
              <a:gd name="connsiteY97" fmla="*/ 4880811 h 5143499"/>
              <a:gd name="connsiteX98" fmla="*/ 2942738 w 3717682"/>
              <a:gd name="connsiteY98" fmla="*/ 4902212 h 5143499"/>
              <a:gd name="connsiteX99" fmla="*/ 2960006 w 3717682"/>
              <a:gd name="connsiteY99" fmla="*/ 4917185 h 5143499"/>
              <a:gd name="connsiteX100" fmla="*/ 2948061 w 3717682"/>
              <a:gd name="connsiteY100" fmla="*/ 4921315 h 5143499"/>
              <a:gd name="connsiteX101" fmla="*/ 2920997 w 3717682"/>
              <a:gd name="connsiteY101" fmla="*/ 4921315 h 5143499"/>
              <a:gd name="connsiteX102" fmla="*/ 2915598 w 3717682"/>
              <a:gd name="connsiteY102" fmla="*/ 4925294 h 5143499"/>
              <a:gd name="connsiteX103" fmla="*/ 2914520 w 3717682"/>
              <a:gd name="connsiteY103" fmla="*/ 4930787 h 5143499"/>
              <a:gd name="connsiteX104" fmla="*/ 2948647 w 3717682"/>
              <a:gd name="connsiteY104" fmla="*/ 4930787 h 5143499"/>
              <a:gd name="connsiteX105" fmla="*/ 2977596 w 3717682"/>
              <a:gd name="connsiteY105" fmla="*/ 4920373 h 5143499"/>
              <a:gd name="connsiteX106" fmla="*/ 2975108 w 3717682"/>
              <a:gd name="connsiteY106" fmla="*/ 4906283 h 5143499"/>
              <a:gd name="connsiteX107" fmla="*/ 2965405 w 3717682"/>
              <a:gd name="connsiteY107" fmla="*/ 4899335 h 5143499"/>
              <a:gd name="connsiteX108" fmla="*/ 2942051 w 3717682"/>
              <a:gd name="connsiteY108" fmla="*/ 4881854 h 5143499"/>
              <a:gd name="connsiteX109" fmla="*/ 2952153 w 3717682"/>
              <a:gd name="connsiteY109" fmla="*/ 4878767 h 5143499"/>
              <a:gd name="connsiteX110" fmla="*/ 2975049 w 3717682"/>
              <a:gd name="connsiteY110" fmla="*/ 4878767 h 5143499"/>
              <a:gd name="connsiteX111" fmla="*/ 2980440 w 3717682"/>
              <a:gd name="connsiteY111" fmla="*/ 4874797 h 5143499"/>
              <a:gd name="connsiteX112" fmla="*/ 2981577 w 3717682"/>
              <a:gd name="connsiteY112" fmla="*/ 4869051 h 5143499"/>
              <a:gd name="connsiteX113" fmla="*/ 2802111 w 3717682"/>
              <a:gd name="connsiteY113" fmla="*/ 4869051 h 5143499"/>
              <a:gd name="connsiteX114" fmla="*/ 2773366 w 3717682"/>
              <a:gd name="connsiteY114" fmla="*/ 4880811 h 5143499"/>
              <a:gd name="connsiteX115" fmla="*/ 2792246 w 3717682"/>
              <a:gd name="connsiteY115" fmla="*/ 4902212 h 5143499"/>
              <a:gd name="connsiteX116" fmla="*/ 2809505 w 3717682"/>
              <a:gd name="connsiteY116" fmla="*/ 4917185 h 5143499"/>
              <a:gd name="connsiteX117" fmla="*/ 2797561 w 3717682"/>
              <a:gd name="connsiteY117" fmla="*/ 4921315 h 5143499"/>
              <a:gd name="connsiteX118" fmla="*/ 2770488 w 3717682"/>
              <a:gd name="connsiteY118" fmla="*/ 4921315 h 5143499"/>
              <a:gd name="connsiteX119" fmla="*/ 2765097 w 3717682"/>
              <a:gd name="connsiteY119" fmla="*/ 4925294 h 5143499"/>
              <a:gd name="connsiteX120" fmla="*/ 2764011 w 3717682"/>
              <a:gd name="connsiteY120" fmla="*/ 4930787 h 5143499"/>
              <a:gd name="connsiteX121" fmla="*/ 2798138 w 3717682"/>
              <a:gd name="connsiteY121" fmla="*/ 4930787 h 5143499"/>
              <a:gd name="connsiteX122" fmla="*/ 2827104 w 3717682"/>
              <a:gd name="connsiteY122" fmla="*/ 4920373 h 5143499"/>
              <a:gd name="connsiteX123" fmla="*/ 2824600 w 3717682"/>
              <a:gd name="connsiteY123" fmla="*/ 4906283 h 5143499"/>
              <a:gd name="connsiteX124" fmla="*/ 2814913 w 3717682"/>
              <a:gd name="connsiteY124" fmla="*/ 4899335 h 5143499"/>
              <a:gd name="connsiteX125" fmla="*/ 2791542 w 3717682"/>
              <a:gd name="connsiteY125" fmla="*/ 4881854 h 5143499"/>
              <a:gd name="connsiteX126" fmla="*/ 2801644 w 3717682"/>
              <a:gd name="connsiteY126" fmla="*/ 4878767 h 5143499"/>
              <a:gd name="connsiteX127" fmla="*/ 2824532 w 3717682"/>
              <a:gd name="connsiteY127" fmla="*/ 4878767 h 5143499"/>
              <a:gd name="connsiteX128" fmla="*/ 2829939 w 3717682"/>
              <a:gd name="connsiteY128" fmla="*/ 4874797 h 5143499"/>
              <a:gd name="connsiteX129" fmla="*/ 2831060 w 3717682"/>
              <a:gd name="connsiteY129" fmla="*/ 4869051 h 5143499"/>
              <a:gd name="connsiteX130" fmla="*/ 2554594 w 3717682"/>
              <a:gd name="connsiteY130" fmla="*/ 4818697 h 5143499"/>
              <a:gd name="connsiteX131" fmla="*/ 2506679 w 3717682"/>
              <a:gd name="connsiteY131" fmla="*/ 4832401 h 5143499"/>
              <a:gd name="connsiteX132" fmla="*/ 2536426 w 3717682"/>
              <a:gd name="connsiteY132" fmla="*/ 4837128 h 5143499"/>
              <a:gd name="connsiteX133" fmla="*/ 2592592 w 3717682"/>
              <a:gd name="connsiteY133" fmla="*/ 4852573 h 5143499"/>
              <a:gd name="connsiteX134" fmla="*/ 2515457 w 3717682"/>
              <a:gd name="connsiteY134" fmla="*/ 4932277 h 5143499"/>
              <a:gd name="connsiteX135" fmla="*/ 2537318 w 3717682"/>
              <a:gd name="connsiteY135" fmla="*/ 4875983 h 5143499"/>
              <a:gd name="connsiteX136" fmla="*/ 2542895 w 3717682"/>
              <a:gd name="connsiteY136" fmla="*/ 4853187 h 5143499"/>
              <a:gd name="connsiteX137" fmla="*/ 2524218 w 3717682"/>
              <a:gd name="connsiteY137" fmla="*/ 4872030 h 5143499"/>
              <a:gd name="connsiteX138" fmla="*/ 2487578 w 3717682"/>
              <a:gd name="connsiteY138" fmla="*/ 4935414 h 5143499"/>
              <a:gd name="connsiteX139" fmla="*/ 2477187 w 3717682"/>
              <a:gd name="connsiteY139" fmla="*/ 4965487 h 5143499"/>
              <a:gd name="connsiteX140" fmla="*/ 2518259 w 3717682"/>
              <a:gd name="connsiteY140" fmla="*/ 4955216 h 5143499"/>
              <a:gd name="connsiteX141" fmla="*/ 2622229 w 3717682"/>
              <a:gd name="connsiteY141" fmla="*/ 4857300 h 5143499"/>
              <a:gd name="connsiteX142" fmla="*/ 2613315 w 3717682"/>
              <a:gd name="connsiteY142" fmla="*/ 4831517 h 5143499"/>
              <a:gd name="connsiteX143" fmla="*/ 2554594 w 3717682"/>
              <a:gd name="connsiteY143" fmla="*/ 4818697 h 5143499"/>
              <a:gd name="connsiteX144" fmla="*/ 3137129 w 3717682"/>
              <a:gd name="connsiteY144" fmla="*/ 4793385 h 5143499"/>
              <a:gd name="connsiteX145" fmla="*/ 3151773 w 3717682"/>
              <a:gd name="connsiteY145" fmla="*/ 4809730 h 5143499"/>
              <a:gd name="connsiteX146" fmla="*/ 3151035 w 3717682"/>
              <a:gd name="connsiteY146" fmla="*/ 4813431 h 5143499"/>
              <a:gd name="connsiteX147" fmla="*/ 3146739 w 3717682"/>
              <a:gd name="connsiteY147" fmla="*/ 4818016 h 5143499"/>
              <a:gd name="connsiteX148" fmla="*/ 3113512 w 3717682"/>
              <a:gd name="connsiteY148" fmla="*/ 4818016 h 5143499"/>
              <a:gd name="connsiteX149" fmla="*/ 3115142 w 3717682"/>
              <a:gd name="connsiteY149" fmla="*/ 4809730 h 5143499"/>
              <a:gd name="connsiteX150" fmla="*/ 3137129 w 3717682"/>
              <a:gd name="connsiteY150" fmla="*/ 4793385 h 5143499"/>
              <a:gd name="connsiteX151" fmla="*/ 2908772 w 3717682"/>
              <a:gd name="connsiteY151" fmla="*/ 4793385 h 5143499"/>
              <a:gd name="connsiteX152" fmla="*/ 2923408 w 3717682"/>
              <a:gd name="connsiteY152" fmla="*/ 4809730 h 5143499"/>
              <a:gd name="connsiteX153" fmla="*/ 2922678 w 3717682"/>
              <a:gd name="connsiteY153" fmla="*/ 4813431 h 5143499"/>
              <a:gd name="connsiteX154" fmla="*/ 2918374 w 3717682"/>
              <a:gd name="connsiteY154" fmla="*/ 4818016 h 5143499"/>
              <a:gd name="connsiteX155" fmla="*/ 2885163 w 3717682"/>
              <a:gd name="connsiteY155" fmla="*/ 4818016 h 5143499"/>
              <a:gd name="connsiteX156" fmla="*/ 2886785 w 3717682"/>
              <a:gd name="connsiteY156" fmla="*/ 4809730 h 5143499"/>
              <a:gd name="connsiteX157" fmla="*/ 2908772 w 3717682"/>
              <a:gd name="connsiteY157" fmla="*/ 4793385 h 5143499"/>
              <a:gd name="connsiteX158" fmla="*/ 2671715 w 3717682"/>
              <a:gd name="connsiteY158" fmla="*/ 4783926 h 5143499"/>
              <a:gd name="connsiteX159" fmla="*/ 2638520 w 3717682"/>
              <a:gd name="connsiteY159" fmla="*/ 4801898 h 5143499"/>
              <a:gd name="connsiteX160" fmla="*/ 2664854 w 3717682"/>
              <a:gd name="connsiteY160" fmla="*/ 4864568 h 5143499"/>
              <a:gd name="connsiteX161" fmla="*/ 2687733 w 3717682"/>
              <a:gd name="connsiteY161" fmla="*/ 4909866 h 5143499"/>
              <a:gd name="connsiteX162" fmla="*/ 2639174 w 3717682"/>
              <a:gd name="connsiteY162" fmla="*/ 4918716 h 5143499"/>
              <a:gd name="connsiteX163" fmla="*/ 2602737 w 3717682"/>
              <a:gd name="connsiteY163" fmla="*/ 4921576 h 5143499"/>
              <a:gd name="connsiteX164" fmla="*/ 2609444 w 3717682"/>
              <a:gd name="connsiteY164" fmla="*/ 4931233 h 5143499"/>
              <a:gd name="connsiteX165" fmla="*/ 2663666 w 3717682"/>
              <a:gd name="connsiteY165" fmla="*/ 4936701 h 5143499"/>
              <a:gd name="connsiteX166" fmla="*/ 2718643 w 3717682"/>
              <a:gd name="connsiteY166" fmla="*/ 4911877 h 5143499"/>
              <a:gd name="connsiteX167" fmla="*/ 2694278 w 3717682"/>
              <a:gd name="connsiteY167" fmla="*/ 4859916 h 5143499"/>
              <a:gd name="connsiteX168" fmla="*/ 2665856 w 3717682"/>
              <a:gd name="connsiteY168" fmla="*/ 4812506 h 5143499"/>
              <a:gd name="connsiteX169" fmla="*/ 2718125 w 3717682"/>
              <a:gd name="connsiteY169" fmla="*/ 4800493 h 5143499"/>
              <a:gd name="connsiteX170" fmla="*/ 2735495 w 3717682"/>
              <a:gd name="connsiteY170" fmla="*/ 4794235 h 5143499"/>
              <a:gd name="connsiteX171" fmla="*/ 2711130 w 3717682"/>
              <a:gd name="connsiteY171" fmla="*/ 4785284 h 5143499"/>
              <a:gd name="connsiteX172" fmla="*/ 2671715 w 3717682"/>
              <a:gd name="connsiteY172" fmla="*/ 4783926 h 5143499"/>
              <a:gd name="connsiteX173" fmla="*/ 3324762 w 3717682"/>
              <a:gd name="connsiteY173" fmla="*/ 4783846 h 5143499"/>
              <a:gd name="connsiteX174" fmla="*/ 3319490 w 3717682"/>
              <a:gd name="connsiteY174" fmla="*/ 4787194 h 5143499"/>
              <a:gd name="connsiteX175" fmla="*/ 3318268 w 3717682"/>
              <a:gd name="connsiteY175" fmla="*/ 4793402 h 5143499"/>
              <a:gd name="connsiteX176" fmla="*/ 3342734 w 3717682"/>
              <a:gd name="connsiteY176" fmla="*/ 4793402 h 5143499"/>
              <a:gd name="connsiteX177" fmla="*/ 3332539 w 3717682"/>
              <a:gd name="connsiteY177" fmla="*/ 4845422 h 5143499"/>
              <a:gd name="connsiteX178" fmla="*/ 3343507 w 3717682"/>
              <a:gd name="connsiteY178" fmla="*/ 4845422 h 5143499"/>
              <a:gd name="connsiteX179" fmla="*/ 3349000 w 3717682"/>
              <a:gd name="connsiteY179" fmla="*/ 4841048 h 5143499"/>
              <a:gd name="connsiteX180" fmla="*/ 3358355 w 3717682"/>
              <a:gd name="connsiteY180" fmla="*/ 4793402 h 5143499"/>
              <a:gd name="connsiteX181" fmla="*/ 3378780 w 3717682"/>
              <a:gd name="connsiteY181" fmla="*/ 4793402 h 5143499"/>
              <a:gd name="connsiteX182" fmla="*/ 3383195 w 3717682"/>
              <a:gd name="connsiteY182" fmla="*/ 4789633 h 5143499"/>
              <a:gd name="connsiteX183" fmla="*/ 3384316 w 3717682"/>
              <a:gd name="connsiteY183" fmla="*/ 4783846 h 5143499"/>
              <a:gd name="connsiteX184" fmla="*/ 3274395 w 3717682"/>
              <a:gd name="connsiteY184" fmla="*/ 4783846 h 5143499"/>
              <a:gd name="connsiteX185" fmla="*/ 3262314 w 3717682"/>
              <a:gd name="connsiteY185" fmla="*/ 4845422 h 5143499"/>
              <a:gd name="connsiteX186" fmla="*/ 3314906 w 3717682"/>
              <a:gd name="connsiteY186" fmla="*/ 4845422 h 5143499"/>
              <a:gd name="connsiteX187" fmla="*/ 3316044 w 3717682"/>
              <a:gd name="connsiteY187" fmla="*/ 4839660 h 5143499"/>
              <a:gd name="connsiteX188" fmla="*/ 3313123 w 3717682"/>
              <a:gd name="connsiteY188" fmla="*/ 4835916 h 5143499"/>
              <a:gd name="connsiteX189" fmla="*/ 3279785 w 3717682"/>
              <a:gd name="connsiteY189" fmla="*/ 4835916 h 5143499"/>
              <a:gd name="connsiteX190" fmla="*/ 3289599 w 3717682"/>
              <a:gd name="connsiteY190" fmla="*/ 4785932 h 5143499"/>
              <a:gd name="connsiteX191" fmla="*/ 3287689 w 3717682"/>
              <a:gd name="connsiteY191" fmla="*/ 4783846 h 5143499"/>
              <a:gd name="connsiteX192" fmla="*/ 3190706 w 3717682"/>
              <a:gd name="connsiteY192" fmla="*/ 4783846 h 5143499"/>
              <a:gd name="connsiteX193" fmla="*/ 3187174 w 3717682"/>
              <a:gd name="connsiteY193" fmla="*/ 4786580 h 5143499"/>
              <a:gd name="connsiteX194" fmla="*/ 3181062 w 3717682"/>
              <a:gd name="connsiteY194" fmla="*/ 4817948 h 5143499"/>
              <a:gd name="connsiteX195" fmla="*/ 3209943 w 3717682"/>
              <a:gd name="connsiteY195" fmla="*/ 4846801 h 5143499"/>
              <a:gd name="connsiteX196" fmla="*/ 3209943 w 3717682"/>
              <a:gd name="connsiteY196" fmla="*/ 4846793 h 5143499"/>
              <a:gd name="connsiteX197" fmla="*/ 3249622 w 3717682"/>
              <a:gd name="connsiteY197" fmla="*/ 4817940 h 5143499"/>
              <a:gd name="connsiteX198" fmla="*/ 3255709 w 3717682"/>
              <a:gd name="connsiteY198" fmla="*/ 4786580 h 5143499"/>
              <a:gd name="connsiteX199" fmla="*/ 3253247 w 3717682"/>
              <a:gd name="connsiteY199" fmla="*/ 4783846 h 5143499"/>
              <a:gd name="connsiteX200" fmla="*/ 3240810 w 3717682"/>
              <a:gd name="connsiteY200" fmla="*/ 4783846 h 5143499"/>
              <a:gd name="connsiteX201" fmla="*/ 3237398 w 3717682"/>
              <a:gd name="connsiteY201" fmla="*/ 4801890 h 5143499"/>
              <a:gd name="connsiteX202" fmla="*/ 3235445 w 3717682"/>
              <a:gd name="connsiteY202" fmla="*/ 4811496 h 5143499"/>
              <a:gd name="connsiteX203" fmla="*/ 3233815 w 3717682"/>
              <a:gd name="connsiteY203" fmla="*/ 4819841 h 5143499"/>
              <a:gd name="connsiteX204" fmla="*/ 3211522 w 3717682"/>
              <a:gd name="connsiteY204" fmla="*/ 4836329 h 5143499"/>
              <a:gd name="connsiteX205" fmla="*/ 3196139 w 3717682"/>
              <a:gd name="connsiteY205" fmla="*/ 4819841 h 5143499"/>
              <a:gd name="connsiteX206" fmla="*/ 3196852 w 3717682"/>
              <a:gd name="connsiteY206" fmla="*/ 4816114 h 5143499"/>
              <a:gd name="connsiteX207" fmla="*/ 3199722 w 3717682"/>
              <a:gd name="connsiteY207" fmla="*/ 4801898 h 5143499"/>
              <a:gd name="connsiteX208" fmla="*/ 3203143 w 3717682"/>
              <a:gd name="connsiteY208" fmla="*/ 4783846 h 5143499"/>
              <a:gd name="connsiteX209" fmla="*/ 2786677 w 3717682"/>
              <a:gd name="connsiteY209" fmla="*/ 4783846 h 5143499"/>
              <a:gd name="connsiteX210" fmla="*/ 2786491 w 3717682"/>
              <a:gd name="connsiteY210" fmla="*/ 4784645 h 5143499"/>
              <a:gd name="connsiteX211" fmla="*/ 2793053 w 3717682"/>
              <a:gd name="connsiteY211" fmla="*/ 4793360 h 5143499"/>
              <a:gd name="connsiteX212" fmla="*/ 2825415 w 3717682"/>
              <a:gd name="connsiteY212" fmla="*/ 4793360 h 5143499"/>
              <a:gd name="connsiteX213" fmla="*/ 2840101 w 3717682"/>
              <a:gd name="connsiteY213" fmla="*/ 4814659 h 5143499"/>
              <a:gd name="connsiteX214" fmla="*/ 2820032 w 3717682"/>
              <a:gd name="connsiteY214" fmla="*/ 4835916 h 5143499"/>
              <a:gd name="connsiteX215" fmla="*/ 2797866 w 3717682"/>
              <a:gd name="connsiteY215" fmla="*/ 4835916 h 5143499"/>
              <a:gd name="connsiteX216" fmla="*/ 2804709 w 3717682"/>
              <a:gd name="connsiteY216" fmla="*/ 4800964 h 5143499"/>
              <a:gd name="connsiteX217" fmla="*/ 2791610 w 3717682"/>
              <a:gd name="connsiteY217" fmla="*/ 4800964 h 5143499"/>
              <a:gd name="connsiteX218" fmla="*/ 2788698 w 3717682"/>
              <a:gd name="connsiteY218" fmla="*/ 4803051 h 5143499"/>
              <a:gd name="connsiteX219" fmla="*/ 2780378 w 3717682"/>
              <a:gd name="connsiteY219" fmla="*/ 4845422 h 5143499"/>
              <a:gd name="connsiteX220" fmla="*/ 2817188 w 3717682"/>
              <a:gd name="connsiteY220" fmla="*/ 4845422 h 5143499"/>
              <a:gd name="connsiteX221" fmla="*/ 2856562 w 3717682"/>
              <a:gd name="connsiteY221" fmla="*/ 4814239 h 5143499"/>
              <a:gd name="connsiteX222" fmla="*/ 2831196 w 3717682"/>
              <a:gd name="connsiteY222" fmla="*/ 4783846 h 5143499"/>
              <a:gd name="connsiteX223" fmla="*/ 3055062 w 3717682"/>
              <a:gd name="connsiteY223" fmla="*/ 4783661 h 5143499"/>
              <a:gd name="connsiteX224" fmla="*/ 3026300 w 3717682"/>
              <a:gd name="connsiteY224" fmla="*/ 4795438 h 5143499"/>
              <a:gd name="connsiteX225" fmla="*/ 3045180 w 3717682"/>
              <a:gd name="connsiteY225" fmla="*/ 4816838 h 5143499"/>
              <a:gd name="connsiteX226" fmla="*/ 3062456 w 3717682"/>
              <a:gd name="connsiteY226" fmla="*/ 4831820 h 5143499"/>
              <a:gd name="connsiteX227" fmla="*/ 3050512 w 3717682"/>
              <a:gd name="connsiteY227" fmla="*/ 4835942 h 5143499"/>
              <a:gd name="connsiteX228" fmla="*/ 3023447 w 3717682"/>
              <a:gd name="connsiteY228" fmla="*/ 4835942 h 5143499"/>
              <a:gd name="connsiteX229" fmla="*/ 3018040 w 3717682"/>
              <a:gd name="connsiteY229" fmla="*/ 4839920 h 5143499"/>
              <a:gd name="connsiteX230" fmla="*/ 3016970 w 3717682"/>
              <a:gd name="connsiteY230" fmla="*/ 4845422 h 5143499"/>
              <a:gd name="connsiteX231" fmla="*/ 3051097 w 3717682"/>
              <a:gd name="connsiteY231" fmla="*/ 4845422 h 5143499"/>
              <a:gd name="connsiteX232" fmla="*/ 3080055 w 3717682"/>
              <a:gd name="connsiteY232" fmla="*/ 4834999 h 5143499"/>
              <a:gd name="connsiteX233" fmla="*/ 3080063 w 3717682"/>
              <a:gd name="connsiteY233" fmla="*/ 4834999 h 5143499"/>
              <a:gd name="connsiteX234" fmla="*/ 3077559 w 3717682"/>
              <a:gd name="connsiteY234" fmla="*/ 4820909 h 5143499"/>
              <a:gd name="connsiteX235" fmla="*/ 3067864 w 3717682"/>
              <a:gd name="connsiteY235" fmla="*/ 4813944 h 5143499"/>
              <a:gd name="connsiteX236" fmla="*/ 3044493 w 3717682"/>
              <a:gd name="connsiteY236" fmla="*/ 4796481 h 5143499"/>
              <a:gd name="connsiteX237" fmla="*/ 3054620 w 3717682"/>
              <a:gd name="connsiteY237" fmla="*/ 4793385 h 5143499"/>
              <a:gd name="connsiteX238" fmla="*/ 3077491 w 3717682"/>
              <a:gd name="connsiteY238" fmla="*/ 4793385 h 5143499"/>
              <a:gd name="connsiteX239" fmla="*/ 3082899 w 3717682"/>
              <a:gd name="connsiteY239" fmla="*/ 4789431 h 5143499"/>
              <a:gd name="connsiteX240" fmla="*/ 3084028 w 3717682"/>
              <a:gd name="connsiteY240" fmla="*/ 4783661 h 5143499"/>
              <a:gd name="connsiteX241" fmla="*/ 2982358 w 3717682"/>
              <a:gd name="connsiteY241" fmla="*/ 4783661 h 5143499"/>
              <a:gd name="connsiteX242" fmla="*/ 2953613 w 3717682"/>
              <a:gd name="connsiteY242" fmla="*/ 4795438 h 5143499"/>
              <a:gd name="connsiteX243" fmla="*/ 2972485 w 3717682"/>
              <a:gd name="connsiteY243" fmla="*/ 4816838 h 5143499"/>
              <a:gd name="connsiteX244" fmla="*/ 2989761 w 3717682"/>
              <a:gd name="connsiteY244" fmla="*/ 4831820 h 5143499"/>
              <a:gd name="connsiteX245" fmla="*/ 2977800 w 3717682"/>
              <a:gd name="connsiteY245" fmla="*/ 4835942 h 5143499"/>
              <a:gd name="connsiteX246" fmla="*/ 2950761 w 3717682"/>
              <a:gd name="connsiteY246" fmla="*/ 4835942 h 5143499"/>
              <a:gd name="connsiteX247" fmla="*/ 2945345 w 3717682"/>
              <a:gd name="connsiteY247" fmla="*/ 4839920 h 5143499"/>
              <a:gd name="connsiteX248" fmla="*/ 2944266 w 3717682"/>
              <a:gd name="connsiteY248" fmla="*/ 4845422 h 5143499"/>
              <a:gd name="connsiteX249" fmla="*/ 2978394 w 3717682"/>
              <a:gd name="connsiteY249" fmla="*/ 4845422 h 5143499"/>
              <a:gd name="connsiteX250" fmla="*/ 3007360 w 3717682"/>
              <a:gd name="connsiteY250" fmla="*/ 4834999 h 5143499"/>
              <a:gd name="connsiteX251" fmla="*/ 3004855 w 3717682"/>
              <a:gd name="connsiteY251" fmla="*/ 4820909 h 5143499"/>
              <a:gd name="connsiteX252" fmla="*/ 2995161 w 3717682"/>
              <a:gd name="connsiteY252" fmla="*/ 4813944 h 5143499"/>
              <a:gd name="connsiteX253" fmla="*/ 2971798 w 3717682"/>
              <a:gd name="connsiteY253" fmla="*/ 4796481 h 5143499"/>
              <a:gd name="connsiteX254" fmla="*/ 2981917 w 3717682"/>
              <a:gd name="connsiteY254" fmla="*/ 4793385 h 5143499"/>
              <a:gd name="connsiteX255" fmla="*/ 3004779 w 3717682"/>
              <a:gd name="connsiteY255" fmla="*/ 4793385 h 5143499"/>
              <a:gd name="connsiteX256" fmla="*/ 3010178 w 3717682"/>
              <a:gd name="connsiteY256" fmla="*/ 4789431 h 5143499"/>
              <a:gd name="connsiteX257" fmla="*/ 3011324 w 3717682"/>
              <a:gd name="connsiteY257" fmla="*/ 4783661 h 5143499"/>
              <a:gd name="connsiteX258" fmla="*/ 3138963 w 3717682"/>
              <a:gd name="connsiteY258" fmla="*/ 4783013 h 5143499"/>
              <a:gd name="connsiteX259" fmla="*/ 3100124 w 3717682"/>
              <a:gd name="connsiteY259" fmla="*/ 4811614 h 5143499"/>
              <a:gd name="connsiteX260" fmla="*/ 3094028 w 3717682"/>
              <a:gd name="connsiteY260" fmla="*/ 4842705 h 5143499"/>
              <a:gd name="connsiteX261" fmla="*/ 3096388 w 3717682"/>
              <a:gd name="connsiteY261" fmla="*/ 4845422 h 5143499"/>
              <a:gd name="connsiteX262" fmla="*/ 3108138 w 3717682"/>
              <a:gd name="connsiteY262" fmla="*/ 4845422 h 5143499"/>
              <a:gd name="connsiteX263" fmla="*/ 3111567 w 3717682"/>
              <a:gd name="connsiteY263" fmla="*/ 4827521 h 5143499"/>
              <a:gd name="connsiteX264" fmla="*/ 3148174 w 3717682"/>
              <a:gd name="connsiteY264" fmla="*/ 4827521 h 5143499"/>
              <a:gd name="connsiteX265" fmla="*/ 3144753 w 3717682"/>
              <a:gd name="connsiteY265" fmla="*/ 4845422 h 5143499"/>
              <a:gd name="connsiteX266" fmla="*/ 3156510 w 3717682"/>
              <a:gd name="connsiteY266" fmla="*/ 4845422 h 5143499"/>
              <a:gd name="connsiteX267" fmla="*/ 3159932 w 3717682"/>
              <a:gd name="connsiteY267" fmla="*/ 4842705 h 5143499"/>
              <a:gd name="connsiteX268" fmla="*/ 3166036 w 3717682"/>
              <a:gd name="connsiteY268" fmla="*/ 4811614 h 5143499"/>
              <a:gd name="connsiteX269" fmla="*/ 3138963 w 3717682"/>
              <a:gd name="connsiteY269" fmla="*/ 4783013 h 5143499"/>
              <a:gd name="connsiteX270" fmla="*/ 2910597 w 3717682"/>
              <a:gd name="connsiteY270" fmla="*/ 4783013 h 5143499"/>
              <a:gd name="connsiteX271" fmla="*/ 2871775 w 3717682"/>
              <a:gd name="connsiteY271" fmla="*/ 4811614 h 5143499"/>
              <a:gd name="connsiteX272" fmla="*/ 2865663 w 3717682"/>
              <a:gd name="connsiteY272" fmla="*/ 4842705 h 5143499"/>
              <a:gd name="connsiteX273" fmla="*/ 2868031 w 3717682"/>
              <a:gd name="connsiteY273" fmla="*/ 4845422 h 5143499"/>
              <a:gd name="connsiteX274" fmla="*/ 2879781 w 3717682"/>
              <a:gd name="connsiteY274" fmla="*/ 4845422 h 5143499"/>
              <a:gd name="connsiteX275" fmla="*/ 2883202 w 3717682"/>
              <a:gd name="connsiteY275" fmla="*/ 4827521 h 5143499"/>
              <a:gd name="connsiteX276" fmla="*/ 2919817 w 3717682"/>
              <a:gd name="connsiteY276" fmla="*/ 4827521 h 5143499"/>
              <a:gd name="connsiteX277" fmla="*/ 2916396 w 3717682"/>
              <a:gd name="connsiteY277" fmla="*/ 4845422 h 5143499"/>
              <a:gd name="connsiteX278" fmla="*/ 2928154 w 3717682"/>
              <a:gd name="connsiteY278" fmla="*/ 4845422 h 5143499"/>
              <a:gd name="connsiteX279" fmla="*/ 2931566 w 3717682"/>
              <a:gd name="connsiteY279" fmla="*/ 4842705 h 5143499"/>
              <a:gd name="connsiteX280" fmla="*/ 2937679 w 3717682"/>
              <a:gd name="connsiteY280" fmla="*/ 4811614 h 5143499"/>
              <a:gd name="connsiteX281" fmla="*/ 2910597 w 3717682"/>
              <a:gd name="connsiteY281" fmla="*/ 4783013 h 5143499"/>
              <a:gd name="connsiteX282" fmla="*/ 2604596 w 3717682"/>
              <a:gd name="connsiteY282" fmla="*/ 4694494 h 5143499"/>
              <a:gd name="connsiteX283" fmla="*/ 2604596 w 3717682"/>
              <a:gd name="connsiteY283" fmla="*/ 4694502 h 5143499"/>
              <a:gd name="connsiteX284" fmla="*/ 2561063 w 3717682"/>
              <a:gd name="connsiteY284" fmla="*/ 4706111 h 5143499"/>
              <a:gd name="connsiteX285" fmla="*/ 2584714 w 3717682"/>
              <a:gd name="connsiteY285" fmla="*/ 4710283 h 5143499"/>
              <a:gd name="connsiteX286" fmla="*/ 2633732 w 3717682"/>
              <a:gd name="connsiteY286" fmla="*/ 4720882 h 5143499"/>
              <a:gd name="connsiteX287" fmla="*/ 2585478 w 3717682"/>
              <a:gd name="connsiteY287" fmla="*/ 4787632 h 5143499"/>
              <a:gd name="connsiteX288" fmla="*/ 2569909 w 3717682"/>
              <a:gd name="connsiteY288" fmla="*/ 4802588 h 5143499"/>
              <a:gd name="connsiteX289" fmla="*/ 2571759 w 3717682"/>
              <a:gd name="connsiteY289" fmla="*/ 4806609 h 5143499"/>
              <a:gd name="connsiteX290" fmla="*/ 2588942 w 3717682"/>
              <a:gd name="connsiteY290" fmla="*/ 4800881 h 5143499"/>
              <a:gd name="connsiteX291" fmla="*/ 2661416 w 3717682"/>
              <a:gd name="connsiteY291" fmla="*/ 4714910 h 5143499"/>
              <a:gd name="connsiteX292" fmla="*/ 2604596 w 3717682"/>
              <a:gd name="connsiteY292" fmla="*/ 4694494 h 5143499"/>
              <a:gd name="connsiteX293" fmla="*/ 893329 w 3717682"/>
              <a:gd name="connsiteY293" fmla="*/ 0 h 5143499"/>
              <a:gd name="connsiteX294" fmla="*/ 3717682 w 3717682"/>
              <a:gd name="connsiteY294" fmla="*/ 0 h 5143499"/>
              <a:gd name="connsiteX295" fmla="*/ 3717682 w 3717682"/>
              <a:gd name="connsiteY295" fmla="*/ 5143499 h 5143499"/>
              <a:gd name="connsiteX296" fmla="*/ 1175798 w 3717682"/>
              <a:gd name="connsiteY296" fmla="*/ 5143499 h 5143499"/>
              <a:gd name="connsiteX297" fmla="*/ 1096714 w 3717682"/>
              <a:gd name="connsiteY297" fmla="*/ 5071623 h 5143499"/>
              <a:gd name="connsiteX298" fmla="*/ 0 w 3717682"/>
              <a:gd name="connsiteY298" fmla="*/ 2423921 h 5143499"/>
              <a:gd name="connsiteX299" fmla="*/ 855043 w 3717682"/>
              <a:gd name="connsiteY299" fmla="*/ 42126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</a:cxnLst>
            <a:rect l="l" t="t" r="r" b="b"/>
            <a:pathLst>
              <a:path w="3717682" h="5143499">
                <a:moveTo>
                  <a:pt x="3243187" y="4869228"/>
                </a:moveTo>
                <a:cubicBezTo>
                  <a:pt x="3240488" y="4869228"/>
                  <a:pt x="3238909" y="4870465"/>
                  <a:pt x="3238365" y="4873182"/>
                </a:cubicBezTo>
                <a:lnTo>
                  <a:pt x="3238374" y="4873182"/>
                </a:lnTo>
                <a:lnTo>
                  <a:pt x="3227066" y="4930787"/>
                </a:lnTo>
                <a:lnTo>
                  <a:pt x="3284505" y="4930787"/>
                </a:lnTo>
                <a:lnTo>
                  <a:pt x="3285694" y="4924630"/>
                </a:lnTo>
                <a:cubicBezTo>
                  <a:pt x="3286203" y="4922123"/>
                  <a:pt x="3285584" y="4921282"/>
                  <a:pt x="3282706" y="4921282"/>
                </a:cubicBezTo>
                <a:lnTo>
                  <a:pt x="3244546" y="4921282"/>
                </a:lnTo>
                <a:lnTo>
                  <a:pt x="3247789" y="4904760"/>
                </a:lnTo>
                <a:lnTo>
                  <a:pt x="3281509" y="4904760"/>
                </a:lnTo>
                <a:cubicBezTo>
                  <a:pt x="3282401" y="4904794"/>
                  <a:pt x="3283181" y="4904169"/>
                  <a:pt x="3283334" y="4903297"/>
                </a:cubicBezTo>
                <a:lnTo>
                  <a:pt x="3284624" y="4896744"/>
                </a:lnTo>
                <a:cubicBezTo>
                  <a:pt x="3284794" y="4895919"/>
                  <a:pt x="3284319" y="4895280"/>
                  <a:pt x="3283376" y="4895280"/>
                </a:cubicBezTo>
                <a:lnTo>
                  <a:pt x="3249639" y="4895280"/>
                </a:lnTo>
                <a:lnTo>
                  <a:pt x="3252865" y="4878792"/>
                </a:lnTo>
                <a:lnTo>
                  <a:pt x="3289684" y="4878792"/>
                </a:lnTo>
                <a:cubicBezTo>
                  <a:pt x="3291424" y="4878792"/>
                  <a:pt x="3293148" y="4878792"/>
                  <a:pt x="3293589" y="4876488"/>
                </a:cubicBezTo>
                <a:lnTo>
                  <a:pt x="3295015" y="4869228"/>
                </a:lnTo>
                <a:close/>
                <a:moveTo>
                  <a:pt x="3143539" y="4869228"/>
                </a:moveTo>
                <a:cubicBezTo>
                  <a:pt x="3141229" y="4869228"/>
                  <a:pt x="3139965" y="4870675"/>
                  <a:pt x="3139481" y="4873182"/>
                </a:cubicBezTo>
                <a:lnTo>
                  <a:pt x="3128173" y="4930787"/>
                </a:lnTo>
                <a:lnTo>
                  <a:pt x="3140126" y="4930787"/>
                </a:lnTo>
                <a:cubicBezTo>
                  <a:pt x="3142630" y="4930787"/>
                  <a:pt x="3144031" y="4929542"/>
                  <a:pt x="3144481" y="4927246"/>
                </a:cubicBezTo>
                <a:lnTo>
                  <a:pt x="3152945" y="4884134"/>
                </a:lnTo>
                <a:lnTo>
                  <a:pt x="3166681" y="4903549"/>
                </a:lnTo>
                <a:cubicBezTo>
                  <a:pt x="3167335" y="4904730"/>
                  <a:pt x="3168598" y="4905454"/>
                  <a:pt x="3169958" y="4905425"/>
                </a:cubicBezTo>
                <a:lnTo>
                  <a:pt x="3176138" y="4905425"/>
                </a:lnTo>
                <a:cubicBezTo>
                  <a:pt x="3177678" y="4905357"/>
                  <a:pt x="3179127" y="4904681"/>
                  <a:pt x="3180162" y="4903549"/>
                </a:cubicBezTo>
                <a:lnTo>
                  <a:pt x="3201504" y="4884134"/>
                </a:lnTo>
                <a:lnTo>
                  <a:pt x="3193040" y="4927246"/>
                </a:lnTo>
                <a:cubicBezTo>
                  <a:pt x="3192591" y="4929542"/>
                  <a:pt x="3193499" y="4930787"/>
                  <a:pt x="3196012" y="4930787"/>
                </a:cubicBezTo>
                <a:lnTo>
                  <a:pt x="3207956" y="4930787"/>
                </a:lnTo>
                <a:lnTo>
                  <a:pt x="3219273" y="4873190"/>
                </a:lnTo>
                <a:cubicBezTo>
                  <a:pt x="3219748" y="4870675"/>
                  <a:pt x="3219086" y="4869228"/>
                  <a:pt x="3216768" y="4869228"/>
                </a:cubicBezTo>
                <a:lnTo>
                  <a:pt x="3202693" y="4869228"/>
                </a:lnTo>
                <a:lnTo>
                  <a:pt x="3175442" y="4893227"/>
                </a:lnTo>
                <a:lnTo>
                  <a:pt x="3157614" y="4869228"/>
                </a:lnTo>
                <a:close/>
                <a:moveTo>
                  <a:pt x="3072703" y="4869228"/>
                </a:moveTo>
                <a:cubicBezTo>
                  <a:pt x="3070003" y="4869228"/>
                  <a:pt x="3068407" y="4870465"/>
                  <a:pt x="3067872" y="4873182"/>
                </a:cubicBezTo>
                <a:lnTo>
                  <a:pt x="3056581" y="4930787"/>
                </a:lnTo>
                <a:lnTo>
                  <a:pt x="3113995" y="4930787"/>
                </a:lnTo>
                <a:lnTo>
                  <a:pt x="3115209" y="4924630"/>
                </a:lnTo>
                <a:cubicBezTo>
                  <a:pt x="3115710" y="4922123"/>
                  <a:pt x="3115091" y="4921282"/>
                  <a:pt x="3112196" y="4921282"/>
                </a:cubicBezTo>
                <a:lnTo>
                  <a:pt x="3074053" y="4921282"/>
                </a:lnTo>
                <a:lnTo>
                  <a:pt x="3077287" y="4904760"/>
                </a:lnTo>
                <a:lnTo>
                  <a:pt x="3111007" y="4904760"/>
                </a:lnTo>
                <a:cubicBezTo>
                  <a:pt x="3111899" y="4904787"/>
                  <a:pt x="3112678" y="4904166"/>
                  <a:pt x="3112841" y="4903297"/>
                </a:cubicBezTo>
                <a:lnTo>
                  <a:pt x="3114131" y="4896744"/>
                </a:lnTo>
                <a:cubicBezTo>
                  <a:pt x="3114284" y="4895919"/>
                  <a:pt x="3113834" y="4895280"/>
                  <a:pt x="3112875" y="4895280"/>
                </a:cubicBezTo>
                <a:lnTo>
                  <a:pt x="3079146" y="4895280"/>
                </a:lnTo>
                <a:lnTo>
                  <a:pt x="3082389" y="4878792"/>
                </a:lnTo>
                <a:lnTo>
                  <a:pt x="3119199" y="4878792"/>
                </a:lnTo>
                <a:cubicBezTo>
                  <a:pt x="3120931" y="4878792"/>
                  <a:pt x="3122655" y="4878792"/>
                  <a:pt x="3123122" y="4876488"/>
                </a:cubicBezTo>
                <a:lnTo>
                  <a:pt x="3124531" y="4869228"/>
                </a:lnTo>
                <a:close/>
                <a:moveTo>
                  <a:pt x="2999626" y="4869228"/>
                </a:moveTo>
                <a:cubicBezTo>
                  <a:pt x="2996544" y="4869228"/>
                  <a:pt x="2994787" y="4870263"/>
                  <a:pt x="2994346" y="4872559"/>
                </a:cubicBezTo>
                <a:lnTo>
                  <a:pt x="2993115" y="4878767"/>
                </a:lnTo>
                <a:lnTo>
                  <a:pt x="3017581" y="4878767"/>
                </a:lnTo>
                <a:lnTo>
                  <a:pt x="3007394" y="4930787"/>
                </a:lnTo>
                <a:lnTo>
                  <a:pt x="3018362" y="4930787"/>
                </a:lnTo>
                <a:cubicBezTo>
                  <a:pt x="3021444" y="4930787"/>
                  <a:pt x="3023227" y="4929542"/>
                  <a:pt x="3023863" y="4926413"/>
                </a:cubicBezTo>
                <a:lnTo>
                  <a:pt x="3033202" y="4878767"/>
                </a:lnTo>
                <a:lnTo>
                  <a:pt x="3053627" y="4878767"/>
                </a:lnTo>
                <a:cubicBezTo>
                  <a:pt x="3056514" y="4878767"/>
                  <a:pt x="3057532" y="4877514"/>
                  <a:pt x="3058025" y="4874999"/>
                </a:cubicBezTo>
                <a:lnTo>
                  <a:pt x="3058025" y="4875007"/>
                </a:lnTo>
                <a:lnTo>
                  <a:pt x="3059162" y="4869228"/>
                </a:lnTo>
                <a:close/>
                <a:moveTo>
                  <a:pt x="2848319" y="4869228"/>
                </a:moveTo>
                <a:cubicBezTo>
                  <a:pt x="2846774" y="4869228"/>
                  <a:pt x="2845611" y="4870254"/>
                  <a:pt x="2845407" y="4871306"/>
                </a:cubicBezTo>
                <a:lnTo>
                  <a:pt x="2842096" y="4888214"/>
                </a:lnTo>
                <a:cubicBezTo>
                  <a:pt x="2835789" y="4920365"/>
                  <a:pt x="2866512" y="4915974"/>
                  <a:pt x="2886403" y="4909925"/>
                </a:cubicBezTo>
                <a:lnTo>
                  <a:pt x="2882302" y="4930787"/>
                </a:lnTo>
                <a:lnTo>
                  <a:pt x="2893279" y="4930787"/>
                </a:lnTo>
                <a:cubicBezTo>
                  <a:pt x="2896369" y="4930787"/>
                  <a:pt x="2898152" y="4929542"/>
                  <a:pt x="2898780" y="4926413"/>
                </a:cubicBezTo>
                <a:lnTo>
                  <a:pt x="2909986" y="4869228"/>
                </a:lnTo>
                <a:lnTo>
                  <a:pt x="2896692" y="4869228"/>
                </a:lnTo>
                <a:cubicBezTo>
                  <a:pt x="2895350" y="4869228"/>
                  <a:pt x="2894179" y="4870254"/>
                  <a:pt x="2893984" y="4871306"/>
                </a:cubicBezTo>
                <a:lnTo>
                  <a:pt x="2888465" y="4899335"/>
                </a:lnTo>
                <a:cubicBezTo>
                  <a:pt x="2878847" y="4902262"/>
                  <a:pt x="2853897" y="4907629"/>
                  <a:pt x="2857785" y="4887802"/>
                </a:cubicBezTo>
                <a:lnTo>
                  <a:pt x="2861435" y="4869228"/>
                </a:lnTo>
                <a:close/>
                <a:moveTo>
                  <a:pt x="3334041" y="4869051"/>
                </a:moveTo>
                <a:cubicBezTo>
                  <a:pt x="3317631" y="4869051"/>
                  <a:pt x="3307783" y="4869152"/>
                  <a:pt x="3305279" y="4880811"/>
                </a:cubicBezTo>
                <a:cubicBezTo>
                  <a:pt x="3303428" y="4889476"/>
                  <a:pt x="3310271" y="4893665"/>
                  <a:pt x="3324143" y="4902212"/>
                </a:cubicBezTo>
                <a:cubicBezTo>
                  <a:pt x="3339356" y="4911549"/>
                  <a:pt x="3342828" y="4912264"/>
                  <a:pt x="3341410" y="4917185"/>
                </a:cubicBezTo>
                <a:cubicBezTo>
                  <a:pt x="3340306" y="4921155"/>
                  <a:pt x="3336316" y="4921315"/>
                  <a:pt x="3329482" y="4921315"/>
                </a:cubicBezTo>
                <a:lnTo>
                  <a:pt x="3302410" y="4921315"/>
                </a:lnTo>
                <a:cubicBezTo>
                  <a:pt x="3299336" y="4921315"/>
                  <a:pt x="3297545" y="4922577"/>
                  <a:pt x="3297010" y="4925294"/>
                </a:cubicBezTo>
                <a:lnTo>
                  <a:pt x="3295941" y="4930787"/>
                </a:lnTo>
                <a:lnTo>
                  <a:pt x="3330068" y="4930787"/>
                </a:lnTo>
                <a:cubicBezTo>
                  <a:pt x="3345680" y="4930787"/>
                  <a:pt x="3355460" y="4929828"/>
                  <a:pt x="3359017" y="4920373"/>
                </a:cubicBezTo>
                <a:cubicBezTo>
                  <a:pt x="3360757" y="4915763"/>
                  <a:pt x="3360732" y="4910994"/>
                  <a:pt x="3356513" y="4906283"/>
                </a:cubicBezTo>
                <a:cubicBezTo>
                  <a:pt x="3354373" y="4903886"/>
                  <a:pt x="3351198" y="4901774"/>
                  <a:pt x="3346818" y="4899335"/>
                </a:cubicBezTo>
                <a:cubicBezTo>
                  <a:pt x="3327326" y="4888407"/>
                  <a:pt x="3322224" y="4887146"/>
                  <a:pt x="3323472" y="4881854"/>
                </a:cubicBezTo>
                <a:cubicBezTo>
                  <a:pt x="3324151" y="4878877"/>
                  <a:pt x="3326239" y="4878767"/>
                  <a:pt x="3333574" y="4878767"/>
                </a:cubicBezTo>
                <a:lnTo>
                  <a:pt x="3356462" y="4878767"/>
                </a:lnTo>
                <a:cubicBezTo>
                  <a:pt x="3359535" y="4878767"/>
                  <a:pt x="3361318" y="4877514"/>
                  <a:pt x="3361853" y="4874797"/>
                </a:cubicBezTo>
                <a:lnTo>
                  <a:pt x="3362990" y="4869051"/>
                </a:lnTo>
                <a:close/>
                <a:moveTo>
                  <a:pt x="2952612" y="4869051"/>
                </a:moveTo>
                <a:cubicBezTo>
                  <a:pt x="2936210" y="4869051"/>
                  <a:pt x="2926371" y="4869152"/>
                  <a:pt x="2923866" y="4880811"/>
                </a:cubicBezTo>
                <a:cubicBezTo>
                  <a:pt x="2922016" y="4889476"/>
                  <a:pt x="2928850" y="4893665"/>
                  <a:pt x="2942738" y="4902212"/>
                </a:cubicBezTo>
                <a:cubicBezTo>
                  <a:pt x="2957943" y="4911549"/>
                  <a:pt x="2961415" y="4912264"/>
                  <a:pt x="2960006" y="4917185"/>
                </a:cubicBezTo>
                <a:cubicBezTo>
                  <a:pt x="2958877" y="4921155"/>
                  <a:pt x="2954895" y="4921315"/>
                  <a:pt x="2948061" y="4921315"/>
                </a:cubicBezTo>
                <a:lnTo>
                  <a:pt x="2920997" y="4921315"/>
                </a:lnTo>
                <a:cubicBezTo>
                  <a:pt x="2917924" y="4921315"/>
                  <a:pt x="2916133" y="4922577"/>
                  <a:pt x="2915598" y="4925294"/>
                </a:cubicBezTo>
                <a:lnTo>
                  <a:pt x="2914520" y="4930787"/>
                </a:lnTo>
                <a:lnTo>
                  <a:pt x="2948647" y="4930787"/>
                </a:lnTo>
                <a:cubicBezTo>
                  <a:pt x="2964268" y="4930787"/>
                  <a:pt x="2974047" y="4929828"/>
                  <a:pt x="2977596" y="4920373"/>
                </a:cubicBezTo>
                <a:cubicBezTo>
                  <a:pt x="2979345" y="4915763"/>
                  <a:pt x="2979328" y="4910994"/>
                  <a:pt x="2975108" y="4906283"/>
                </a:cubicBezTo>
                <a:cubicBezTo>
                  <a:pt x="2972952" y="4903886"/>
                  <a:pt x="2969794" y="4901774"/>
                  <a:pt x="2965405" y="4899335"/>
                </a:cubicBezTo>
                <a:cubicBezTo>
                  <a:pt x="2945905" y="4888407"/>
                  <a:pt x="2940820" y="4887146"/>
                  <a:pt x="2942051" y="4881854"/>
                </a:cubicBezTo>
                <a:cubicBezTo>
                  <a:pt x="2942730" y="4878877"/>
                  <a:pt x="2944810" y="4878767"/>
                  <a:pt x="2952153" y="4878767"/>
                </a:cubicBezTo>
                <a:lnTo>
                  <a:pt x="2975049" y="4878767"/>
                </a:lnTo>
                <a:cubicBezTo>
                  <a:pt x="2978114" y="4878767"/>
                  <a:pt x="2979914" y="4877514"/>
                  <a:pt x="2980440" y="4874797"/>
                </a:cubicBezTo>
                <a:lnTo>
                  <a:pt x="2981577" y="4869051"/>
                </a:lnTo>
                <a:close/>
                <a:moveTo>
                  <a:pt x="2802111" y="4869051"/>
                </a:moveTo>
                <a:cubicBezTo>
                  <a:pt x="2785710" y="4869051"/>
                  <a:pt x="2775862" y="4869152"/>
                  <a:pt x="2773366" y="4880811"/>
                </a:cubicBezTo>
                <a:cubicBezTo>
                  <a:pt x="2771498" y="4889476"/>
                  <a:pt x="2778349" y="4893665"/>
                  <a:pt x="2792246" y="4902212"/>
                </a:cubicBezTo>
                <a:cubicBezTo>
                  <a:pt x="2807434" y="4911549"/>
                  <a:pt x="2810906" y="4912264"/>
                  <a:pt x="2809505" y="4917185"/>
                </a:cubicBezTo>
                <a:cubicBezTo>
                  <a:pt x="2808385" y="4921155"/>
                  <a:pt x="2804403" y="4921315"/>
                  <a:pt x="2797561" y="4921315"/>
                </a:cubicBezTo>
                <a:lnTo>
                  <a:pt x="2770488" y="4921315"/>
                </a:lnTo>
                <a:cubicBezTo>
                  <a:pt x="2767415" y="4921315"/>
                  <a:pt x="2765632" y="4922577"/>
                  <a:pt x="2765097" y="4925294"/>
                </a:cubicBezTo>
                <a:lnTo>
                  <a:pt x="2764011" y="4930787"/>
                </a:lnTo>
                <a:lnTo>
                  <a:pt x="2798138" y="4930787"/>
                </a:lnTo>
                <a:cubicBezTo>
                  <a:pt x="2813759" y="4930787"/>
                  <a:pt x="2823547" y="4929828"/>
                  <a:pt x="2827104" y="4920373"/>
                </a:cubicBezTo>
                <a:cubicBezTo>
                  <a:pt x="2828827" y="4915763"/>
                  <a:pt x="2828810" y="4910994"/>
                  <a:pt x="2824600" y="4906283"/>
                </a:cubicBezTo>
                <a:cubicBezTo>
                  <a:pt x="2822452" y="4903886"/>
                  <a:pt x="2819277" y="4901774"/>
                  <a:pt x="2814913" y="4899335"/>
                </a:cubicBezTo>
                <a:cubicBezTo>
                  <a:pt x="2795404" y="4888407"/>
                  <a:pt x="2790311" y="4887146"/>
                  <a:pt x="2791542" y="4881854"/>
                </a:cubicBezTo>
                <a:cubicBezTo>
                  <a:pt x="2792238" y="4878877"/>
                  <a:pt x="2794318" y="4878767"/>
                  <a:pt x="2801644" y="4878767"/>
                </a:cubicBezTo>
                <a:lnTo>
                  <a:pt x="2824532" y="4878767"/>
                </a:lnTo>
                <a:cubicBezTo>
                  <a:pt x="2827613" y="4878767"/>
                  <a:pt x="2829405" y="4877514"/>
                  <a:pt x="2829939" y="4874797"/>
                </a:cubicBezTo>
                <a:lnTo>
                  <a:pt x="2831060" y="4869051"/>
                </a:lnTo>
                <a:close/>
                <a:moveTo>
                  <a:pt x="2554594" y="4818697"/>
                </a:moveTo>
                <a:cubicBezTo>
                  <a:pt x="2536545" y="4819757"/>
                  <a:pt x="2505499" y="4826092"/>
                  <a:pt x="2506679" y="4832401"/>
                </a:cubicBezTo>
                <a:cubicBezTo>
                  <a:pt x="2507766" y="4839231"/>
                  <a:pt x="2527427" y="4837128"/>
                  <a:pt x="2536426" y="4837128"/>
                </a:cubicBezTo>
                <a:cubicBezTo>
                  <a:pt x="2556215" y="4837128"/>
                  <a:pt x="2587643" y="4838466"/>
                  <a:pt x="2592592" y="4852573"/>
                </a:cubicBezTo>
                <a:cubicBezTo>
                  <a:pt x="2603263" y="4882957"/>
                  <a:pt x="2530883" y="4937517"/>
                  <a:pt x="2515457" y="4932277"/>
                </a:cubicBezTo>
                <a:cubicBezTo>
                  <a:pt x="2508479" y="4929904"/>
                  <a:pt x="2529635" y="4890250"/>
                  <a:pt x="2537318" y="4875983"/>
                </a:cubicBezTo>
                <a:cubicBezTo>
                  <a:pt x="2541885" y="4867470"/>
                  <a:pt x="2548838" y="4854095"/>
                  <a:pt x="2542895" y="4853187"/>
                </a:cubicBezTo>
                <a:cubicBezTo>
                  <a:pt x="2536273" y="4852186"/>
                  <a:pt x="2528956" y="4864770"/>
                  <a:pt x="2524218" y="4872030"/>
                </a:cubicBezTo>
                <a:cubicBezTo>
                  <a:pt x="2511349" y="4891756"/>
                  <a:pt x="2498147" y="4913291"/>
                  <a:pt x="2487578" y="4935414"/>
                </a:cubicBezTo>
                <a:cubicBezTo>
                  <a:pt x="2484310" y="4942245"/>
                  <a:pt x="2473452" y="4962829"/>
                  <a:pt x="2477187" y="4965487"/>
                </a:cubicBezTo>
                <a:cubicBezTo>
                  <a:pt x="2480668" y="4967960"/>
                  <a:pt x="2497205" y="4964436"/>
                  <a:pt x="2518259" y="4955216"/>
                </a:cubicBezTo>
                <a:cubicBezTo>
                  <a:pt x="2584451" y="4926220"/>
                  <a:pt x="2614249" y="4888484"/>
                  <a:pt x="2622229" y="4857300"/>
                </a:cubicBezTo>
                <a:cubicBezTo>
                  <a:pt x="2624773" y="4847711"/>
                  <a:pt x="2621259" y="4837546"/>
                  <a:pt x="2613315" y="4831517"/>
                </a:cubicBezTo>
                <a:cubicBezTo>
                  <a:pt x="2599486" y="4821027"/>
                  <a:pt x="2574866" y="4817520"/>
                  <a:pt x="2554594" y="4818697"/>
                </a:cubicBezTo>
                <a:close/>
                <a:moveTo>
                  <a:pt x="3137129" y="4793385"/>
                </a:moveTo>
                <a:cubicBezTo>
                  <a:pt x="3150449" y="4793385"/>
                  <a:pt x="3153930" y="4798340"/>
                  <a:pt x="3151773" y="4809730"/>
                </a:cubicBezTo>
                <a:cubicBezTo>
                  <a:pt x="3151773" y="4809730"/>
                  <a:pt x="3151230" y="4812573"/>
                  <a:pt x="3151035" y="4813431"/>
                </a:cubicBezTo>
                <a:cubicBezTo>
                  <a:pt x="3150772" y="4814710"/>
                  <a:pt x="3150186" y="4818016"/>
                  <a:pt x="3146739" y="4818016"/>
                </a:cubicBezTo>
                <a:lnTo>
                  <a:pt x="3113512" y="4818016"/>
                </a:lnTo>
                <a:lnTo>
                  <a:pt x="3115142" y="4809730"/>
                </a:lnTo>
                <a:cubicBezTo>
                  <a:pt x="3117485" y="4797734"/>
                  <a:pt x="3124531" y="4793385"/>
                  <a:pt x="3137129" y="4793385"/>
                </a:cubicBezTo>
                <a:close/>
                <a:moveTo>
                  <a:pt x="2908772" y="4793385"/>
                </a:moveTo>
                <a:cubicBezTo>
                  <a:pt x="2922084" y="4793385"/>
                  <a:pt x="2925581" y="4798340"/>
                  <a:pt x="2923408" y="4809730"/>
                </a:cubicBezTo>
                <a:cubicBezTo>
                  <a:pt x="2923408" y="4809730"/>
                  <a:pt x="2922865" y="4812573"/>
                  <a:pt x="2922678" y="4813431"/>
                </a:cubicBezTo>
                <a:cubicBezTo>
                  <a:pt x="2922423" y="4814710"/>
                  <a:pt x="2921829" y="4818016"/>
                  <a:pt x="2918374" y="4818016"/>
                </a:cubicBezTo>
                <a:lnTo>
                  <a:pt x="2885163" y="4818016"/>
                </a:lnTo>
                <a:lnTo>
                  <a:pt x="2886785" y="4809730"/>
                </a:lnTo>
                <a:cubicBezTo>
                  <a:pt x="2889111" y="4797734"/>
                  <a:pt x="2896174" y="4793385"/>
                  <a:pt x="2908772" y="4793385"/>
                </a:cubicBezTo>
                <a:close/>
                <a:moveTo>
                  <a:pt x="2671715" y="4783926"/>
                </a:moveTo>
                <a:cubicBezTo>
                  <a:pt x="2657863" y="4785815"/>
                  <a:pt x="2645049" y="4790925"/>
                  <a:pt x="2638520" y="4801898"/>
                </a:cubicBezTo>
                <a:cubicBezTo>
                  <a:pt x="2628435" y="4818857"/>
                  <a:pt x="2647502" y="4842074"/>
                  <a:pt x="2664854" y="4864568"/>
                </a:cubicBezTo>
                <a:cubicBezTo>
                  <a:pt x="2678768" y="4882595"/>
                  <a:pt x="2693922" y="4899814"/>
                  <a:pt x="2687733" y="4909866"/>
                </a:cubicBezTo>
                <a:cubicBezTo>
                  <a:pt x="2682690" y="4918085"/>
                  <a:pt x="2650320" y="4918068"/>
                  <a:pt x="2639174" y="4918716"/>
                </a:cubicBezTo>
                <a:cubicBezTo>
                  <a:pt x="2625633" y="4919515"/>
                  <a:pt x="2606150" y="4919557"/>
                  <a:pt x="2602737" y="4921576"/>
                </a:cubicBezTo>
                <a:cubicBezTo>
                  <a:pt x="2599681" y="4923385"/>
                  <a:pt x="2597983" y="4928995"/>
                  <a:pt x="2609444" y="4931233"/>
                </a:cubicBezTo>
                <a:cubicBezTo>
                  <a:pt x="2618638" y="4933050"/>
                  <a:pt x="2640540" y="4936718"/>
                  <a:pt x="2663666" y="4936701"/>
                </a:cubicBezTo>
                <a:cubicBezTo>
                  <a:pt x="2687801" y="4936692"/>
                  <a:pt x="2713150" y="4932360"/>
                  <a:pt x="2718643" y="4911877"/>
                </a:cubicBezTo>
                <a:cubicBezTo>
                  <a:pt x="2723058" y="4895423"/>
                  <a:pt x="2707751" y="4877791"/>
                  <a:pt x="2694278" y="4859916"/>
                </a:cubicBezTo>
                <a:cubicBezTo>
                  <a:pt x="2679524" y="4840333"/>
                  <a:pt x="2664599" y="4826377"/>
                  <a:pt x="2665856" y="4812506"/>
                </a:cubicBezTo>
                <a:cubicBezTo>
                  <a:pt x="2666824" y="4801730"/>
                  <a:pt x="2686120" y="4801107"/>
                  <a:pt x="2718125" y="4800493"/>
                </a:cubicBezTo>
                <a:cubicBezTo>
                  <a:pt x="2724798" y="4800350"/>
                  <a:pt x="2738041" y="4800005"/>
                  <a:pt x="2735495" y="4794235"/>
                </a:cubicBezTo>
                <a:cubicBezTo>
                  <a:pt x="2733211" y="4789154"/>
                  <a:pt x="2723295" y="4787463"/>
                  <a:pt x="2711130" y="4785284"/>
                </a:cubicBezTo>
                <a:cubicBezTo>
                  <a:pt x="2700455" y="4783371"/>
                  <a:pt x="2685566" y="4782037"/>
                  <a:pt x="2671715" y="4783926"/>
                </a:cubicBezTo>
                <a:close/>
                <a:moveTo>
                  <a:pt x="3324762" y="4783846"/>
                </a:moveTo>
                <a:cubicBezTo>
                  <a:pt x="3321681" y="4783846"/>
                  <a:pt x="3319949" y="4784889"/>
                  <a:pt x="3319490" y="4787194"/>
                </a:cubicBezTo>
                <a:lnTo>
                  <a:pt x="3318268" y="4793402"/>
                </a:lnTo>
                <a:lnTo>
                  <a:pt x="3342734" y="4793402"/>
                </a:lnTo>
                <a:lnTo>
                  <a:pt x="3332539" y="4845422"/>
                </a:lnTo>
                <a:lnTo>
                  <a:pt x="3343507" y="4845422"/>
                </a:lnTo>
                <a:cubicBezTo>
                  <a:pt x="3346597" y="4845422"/>
                  <a:pt x="3348388" y="4844169"/>
                  <a:pt x="3349000" y="4841048"/>
                </a:cubicBezTo>
                <a:lnTo>
                  <a:pt x="3358355" y="4793402"/>
                </a:lnTo>
                <a:lnTo>
                  <a:pt x="3378780" y="4793402"/>
                </a:lnTo>
                <a:cubicBezTo>
                  <a:pt x="3381667" y="4793402"/>
                  <a:pt x="3382686" y="4792140"/>
                  <a:pt x="3383195" y="4789633"/>
                </a:cubicBezTo>
                <a:lnTo>
                  <a:pt x="3384316" y="4783846"/>
                </a:lnTo>
                <a:close/>
                <a:moveTo>
                  <a:pt x="3274395" y="4783846"/>
                </a:moveTo>
                <a:lnTo>
                  <a:pt x="3262314" y="4845422"/>
                </a:lnTo>
                <a:lnTo>
                  <a:pt x="3314906" y="4845422"/>
                </a:lnTo>
                <a:lnTo>
                  <a:pt x="3316044" y="4839660"/>
                </a:lnTo>
                <a:cubicBezTo>
                  <a:pt x="3316578" y="4836968"/>
                  <a:pt x="3315619" y="4835916"/>
                  <a:pt x="3313123" y="4835916"/>
                </a:cubicBezTo>
                <a:lnTo>
                  <a:pt x="3279785" y="4835916"/>
                </a:lnTo>
                <a:lnTo>
                  <a:pt x="3289599" y="4785932"/>
                </a:lnTo>
                <a:cubicBezTo>
                  <a:pt x="3289794" y="4784889"/>
                  <a:pt x="3289030" y="4783846"/>
                  <a:pt x="3287689" y="4783846"/>
                </a:cubicBezTo>
                <a:close/>
                <a:moveTo>
                  <a:pt x="3190706" y="4783846"/>
                </a:moveTo>
                <a:cubicBezTo>
                  <a:pt x="3189093" y="4783846"/>
                  <a:pt x="3187582" y="4784477"/>
                  <a:pt x="3187174" y="4786580"/>
                </a:cubicBezTo>
                <a:lnTo>
                  <a:pt x="3181062" y="4817948"/>
                </a:lnTo>
                <a:cubicBezTo>
                  <a:pt x="3176894" y="4840063"/>
                  <a:pt x="3187998" y="4846801"/>
                  <a:pt x="3209943" y="4846801"/>
                </a:cubicBezTo>
                <a:lnTo>
                  <a:pt x="3209943" y="4846793"/>
                </a:lnTo>
                <a:cubicBezTo>
                  <a:pt x="3235649" y="4846793"/>
                  <a:pt x="3245556" y="4838078"/>
                  <a:pt x="3249622" y="4817940"/>
                </a:cubicBezTo>
                <a:lnTo>
                  <a:pt x="3255709" y="4786580"/>
                </a:lnTo>
                <a:cubicBezTo>
                  <a:pt x="3256117" y="4784477"/>
                  <a:pt x="3254852" y="4783846"/>
                  <a:pt x="3253247" y="4783846"/>
                </a:cubicBezTo>
                <a:lnTo>
                  <a:pt x="3240810" y="4783846"/>
                </a:lnTo>
                <a:lnTo>
                  <a:pt x="3237398" y="4801890"/>
                </a:lnTo>
                <a:lnTo>
                  <a:pt x="3235445" y="4811496"/>
                </a:lnTo>
                <a:lnTo>
                  <a:pt x="3233815" y="4819841"/>
                </a:lnTo>
                <a:cubicBezTo>
                  <a:pt x="3231540" y="4831206"/>
                  <a:pt x="3224112" y="4836329"/>
                  <a:pt x="3211522" y="4836329"/>
                </a:cubicBezTo>
                <a:cubicBezTo>
                  <a:pt x="3197676" y="4836329"/>
                  <a:pt x="3193966" y="4831332"/>
                  <a:pt x="3196139" y="4819841"/>
                </a:cubicBezTo>
                <a:cubicBezTo>
                  <a:pt x="3196139" y="4819841"/>
                  <a:pt x="3196674" y="4816972"/>
                  <a:pt x="3196852" y="4816114"/>
                </a:cubicBezTo>
                <a:lnTo>
                  <a:pt x="3199722" y="4801898"/>
                </a:lnTo>
                <a:lnTo>
                  <a:pt x="3203143" y="4783846"/>
                </a:lnTo>
                <a:close/>
                <a:moveTo>
                  <a:pt x="2786677" y="4783846"/>
                </a:moveTo>
                <a:lnTo>
                  <a:pt x="2786491" y="4784645"/>
                </a:lnTo>
                <a:cubicBezTo>
                  <a:pt x="2785489" y="4788784"/>
                  <a:pt x="2786015" y="4793360"/>
                  <a:pt x="2793053" y="4793360"/>
                </a:cubicBezTo>
                <a:lnTo>
                  <a:pt x="2825415" y="4793360"/>
                </a:lnTo>
                <a:cubicBezTo>
                  <a:pt x="2840984" y="4793360"/>
                  <a:pt x="2843208" y="4801074"/>
                  <a:pt x="2840101" y="4814659"/>
                </a:cubicBezTo>
                <a:cubicBezTo>
                  <a:pt x="2837045" y="4828001"/>
                  <a:pt x="2831722" y="4834865"/>
                  <a:pt x="2820032" y="4835916"/>
                </a:cubicBezTo>
                <a:lnTo>
                  <a:pt x="2797866" y="4835916"/>
                </a:lnTo>
                <a:lnTo>
                  <a:pt x="2804709" y="4800964"/>
                </a:lnTo>
                <a:lnTo>
                  <a:pt x="2791610" y="4800964"/>
                </a:lnTo>
                <a:cubicBezTo>
                  <a:pt x="2790065" y="4800964"/>
                  <a:pt x="2788902" y="4802007"/>
                  <a:pt x="2788698" y="4803051"/>
                </a:cubicBezTo>
                <a:lnTo>
                  <a:pt x="2780378" y="4845422"/>
                </a:lnTo>
                <a:lnTo>
                  <a:pt x="2817188" y="4845422"/>
                </a:lnTo>
                <a:cubicBezTo>
                  <a:pt x="2837809" y="4845422"/>
                  <a:pt x="2852097" y="4837834"/>
                  <a:pt x="2856562" y="4814239"/>
                </a:cubicBezTo>
                <a:cubicBezTo>
                  <a:pt x="2859882" y="4796674"/>
                  <a:pt x="2852207" y="4783846"/>
                  <a:pt x="2831196" y="4783846"/>
                </a:cubicBezTo>
                <a:close/>
                <a:moveTo>
                  <a:pt x="3055062" y="4783661"/>
                </a:moveTo>
                <a:cubicBezTo>
                  <a:pt x="3038660" y="4783661"/>
                  <a:pt x="3028813" y="4783762"/>
                  <a:pt x="3026300" y="4795438"/>
                </a:cubicBezTo>
                <a:cubicBezTo>
                  <a:pt x="3024458" y="4804094"/>
                  <a:pt x="3031300" y="4808291"/>
                  <a:pt x="3045180" y="4816838"/>
                </a:cubicBezTo>
                <a:cubicBezTo>
                  <a:pt x="3060376" y="4826175"/>
                  <a:pt x="3063848" y="4826882"/>
                  <a:pt x="3062456" y="4831820"/>
                </a:cubicBezTo>
                <a:cubicBezTo>
                  <a:pt x="3061327" y="4835790"/>
                  <a:pt x="3057346" y="4835942"/>
                  <a:pt x="3050512" y="4835942"/>
                </a:cubicBezTo>
                <a:lnTo>
                  <a:pt x="3023447" y="4835942"/>
                </a:lnTo>
                <a:cubicBezTo>
                  <a:pt x="3020366" y="4835942"/>
                  <a:pt x="3018574" y="4837203"/>
                  <a:pt x="3018040" y="4839920"/>
                </a:cubicBezTo>
                <a:lnTo>
                  <a:pt x="3016970" y="4845422"/>
                </a:lnTo>
                <a:lnTo>
                  <a:pt x="3051097" y="4845422"/>
                </a:lnTo>
                <a:cubicBezTo>
                  <a:pt x="3066701" y="4845422"/>
                  <a:pt x="3076506" y="4844471"/>
                  <a:pt x="3080055" y="4834999"/>
                </a:cubicBezTo>
                <a:lnTo>
                  <a:pt x="3080063" y="4834999"/>
                </a:lnTo>
                <a:cubicBezTo>
                  <a:pt x="3081795" y="4830381"/>
                  <a:pt x="3081778" y="4825612"/>
                  <a:pt x="3077559" y="4820909"/>
                </a:cubicBezTo>
                <a:cubicBezTo>
                  <a:pt x="3075411" y="4818503"/>
                  <a:pt x="3072244" y="4816409"/>
                  <a:pt x="3067864" y="4813944"/>
                </a:cubicBezTo>
                <a:cubicBezTo>
                  <a:pt x="3048364" y="4803017"/>
                  <a:pt x="3043270" y="4801772"/>
                  <a:pt x="3044493" y="4796481"/>
                </a:cubicBezTo>
                <a:cubicBezTo>
                  <a:pt x="3045189" y="4793511"/>
                  <a:pt x="3047277" y="4793385"/>
                  <a:pt x="3054620" y="4793385"/>
                </a:cubicBezTo>
                <a:lnTo>
                  <a:pt x="3077491" y="4793385"/>
                </a:lnTo>
                <a:cubicBezTo>
                  <a:pt x="3080573" y="4793385"/>
                  <a:pt x="3082364" y="4792140"/>
                  <a:pt x="3082899" y="4789431"/>
                </a:cubicBezTo>
                <a:lnTo>
                  <a:pt x="3084028" y="4783661"/>
                </a:lnTo>
                <a:close/>
                <a:moveTo>
                  <a:pt x="2982358" y="4783661"/>
                </a:moveTo>
                <a:cubicBezTo>
                  <a:pt x="2965957" y="4783661"/>
                  <a:pt x="2956118" y="4783762"/>
                  <a:pt x="2953613" y="4795438"/>
                </a:cubicBezTo>
                <a:cubicBezTo>
                  <a:pt x="2951754" y="4804094"/>
                  <a:pt x="2958605" y="4808291"/>
                  <a:pt x="2972485" y="4816838"/>
                </a:cubicBezTo>
                <a:cubicBezTo>
                  <a:pt x="2987681" y="4826175"/>
                  <a:pt x="2991162" y="4826882"/>
                  <a:pt x="2989761" y="4831820"/>
                </a:cubicBezTo>
                <a:cubicBezTo>
                  <a:pt x="2988641" y="4835790"/>
                  <a:pt x="2984651" y="4835942"/>
                  <a:pt x="2977800" y="4835942"/>
                </a:cubicBezTo>
                <a:lnTo>
                  <a:pt x="2950761" y="4835942"/>
                </a:lnTo>
                <a:cubicBezTo>
                  <a:pt x="2947671" y="4835942"/>
                  <a:pt x="2945888" y="4837203"/>
                  <a:pt x="2945345" y="4839920"/>
                </a:cubicBezTo>
                <a:lnTo>
                  <a:pt x="2944266" y="4845422"/>
                </a:lnTo>
                <a:lnTo>
                  <a:pt x="2978394" y="4845422"/>
                </a:lnTo>
                <a:cubicBezTo>
                  <a:pt x="2994014" y="4845422"/>
                  <a:pt x="3003803" y="4844471"/>
                  <a:pt x="3007360" y="4834999"/>
                </a:cubicBezTo>
                <a:cubicBezTo>
                  <a:pt x="3009083" y="4830381"/>
                  <a:pt x="3009066" y="4825612"/>
                  <a:pt x="3004855" y="4820909"/>
                </a:cubicBezTo>
                <a:cubicBezTo>
                  <a:pt x="3002699" y="4818503"/>
                  <a:pt x="2999533" y="4816409"/>
                  <a:pt x="2995161" y="4813944"/>
                </a:cubicBezTo>
                <a:cubicBezTo>
                  <a:pt x="2975643" y="4803017"/>
                  <a:pt x="2970567" y="4801772"/>
                  <a:pt x="2971798" y="4796481"/>
                </a:cubicBezTo>
                <a:cubicBezTo>
                  <a:pt x="2972477" y="4793511"/>
                  <a:pt x="2974557" y="4793385"/>
                  <a:pt x="2981917" y="4793385"/>
                </a:cubicBezTo>
                <a:lnTo>
                  <a:pt x="3004779" y="4793385"/>
                </a:lnTo>
                <a:cubicBezTo>
                  <a:pt x="3007869" y="4793385"/>
                  <a:pt x="3009660" y="4792140"/>
                  <a:pt x="3010178" y="4789431"/>
                </a:cubicBezTo>
                <a:lnTo>
                  <a:pt x="3011324" y="4783661"/>
                </a:lnTo>
                <a:close/>
                <a:moveTo>
                  <a:pt x="3138963" y="4783013"/>
                </a:moveTo>
                <a:cubicBezTo>
                  <a:pt x="3117247" y="4783013"/>
                  <a:pt x="3104861" y="4788414"/>
                  <a:pt x="3100124" y="4811614"/>
                </a:cubicBezTo>
                <a:lnTo>
                  <a:pt x="3094028" y="4842705"/>
                </a:lnTo>
                <a:cubicBezTo>
                  <a:pt x="3093621" y="4844791"/>
                  <a:pt x="3094835" y="4845422"/>
                  <a:pt x="3096388" y="4845422"/>
                </a:cubicBezTo>
                <a:lnTo>
                  <a:pt x="3108138" y="4845422"/>
                </a:lnTo>
                <a:lnTo>
                  <a:pt x="3111567" y="4827521"/>
                </a:lnTo>
                <a:lnTo>
                  <a:pt x="3148174" y="4827521"/>
                </a:lnTo>
                <a:lnTo>
                  <a:pt x="3144753" y="4845422"/>
                </a:lnTo>
                <a:lnTo>
                  <a:pt x="3156510" y="4845422"/>
                </a:lnTo>
                <a:cubicBezTo>
                  <a:pt x="3158056" y="4845422"/>
                  <a:pt x="3159524" y="4844791"/>
                  <a:pt x="3159932" y="4842705"/>
                </a:cubicBezTo>
                <a:lnTo>
                  <a:pt x="3166036" y="4811614"/>
                </a:lnTo>
                <a:cubicBezTo>
                  <a:pt x="3170535" y="4788027"/>
                  <a:pt x="3157088" y="4783013"/>
                  <a:pt x="3138963" y="4783013"/>
                </a:cubicBezTo>
                <a:close/>
                <a:moveTo>
                  <a:pt x="2910597" y="4783013"/>
                </a:moveTo>
                <a:cubicBezTo>
                  <a:pt x="2888890" y="4783013"/>
                  <a:pt x="2876504" y="4788414"/>
                  <a:pt x="2871775" y="4811614"/>
                </a:cubicBezTo>
                <a:lnTo>
                  <a:pt x="2865663" y="4842705"/>
                </a:lnTo>
                <a:cubicBezTo>
                  <a:pt x="2865264" y="4844791"/>
                  <a:pt x="2866478" y="4845422"/>
                  <a:pt x="2868031" y="4845422"/>
                </a:cubicBezTo>
                <a:lnTo>
                  <a:pt x="2879781" y="4845422"/>
                </a:lnTo>
                <a:lnTo>
                  <a:pt x="2883202" y="4827521"/>
                </a:lnTo>
                <a:lnTo>
                  <a:pt x="2919817" y="4827521"/>
                </a:lnTo>
                <a:lnTo>
                  <a:pt x="2916396" y="4845422"/>
                </a:lnTo>
                <a:lnTo>
                  <a:pt x="2928154" y="4845422"/>
                </a:lnTo>
                <a:cubicBezTo>
                  <a:pt x="2929699" y="4845422"/>
                  <a:pt x="2931167" y="4844791"/>
                  <a:pt x="2931566" y="4842705"/>
                </a:cubicBezTo>
                <a:lnTo>
                  <a:pt x="2937679" y="4811614"/>
                </a:lnTo>
                <a:cubicBezTo>
                  <a:pt x="2942170" y="4788027"/>
                  <a:pt x="2928722" y="4783013"/>
                  <a:pt x="2910597" y="4783013"/>
                </a:cubicBezTo>
                <a:close/>
                <a:moveTo>
                  <a:pt x="2604596" y="4694494"/>
                </a:moveTo>
                <a:lnTo>
                  <a:pt x="2604596" y="4694502"/>
                </a:lnTo>
                <a:cubicBezTo>
                  <a:pt x="2581132" y="4695596"/>
                  <a:pt x="2559730" y="4701543"/>
                  <a:pt x="2561063" y="4706111"/>
                </a:cubicBezTo>
                <a:cubicBezTo>
                  <a:pt x="2562701" y="4711671"/>
                  <a:pt x="2578644" y="4710283"/>
                  <a:pt x="2584714" y="4710283"/>
                </a:cubicBezTo>
                <a:cubicBezTo>
                  <a:pt x="2607067" y="4710283"/>
                  <a:pt x="2628596" y="4714624"/>
                  <a:pt x="2633732" y="4720882"/>
                </a:cubicBezTo>
                <a:cubicBezTo>
                  <a:pt x="2641755" y="4730657"/>
                  <a:pt x="2627942" y="4754766"/>
                  <a:pt x="2585478" y="4787632"/>
                </a:cubicBezTo>
                <a:cubicBezTo>
                  <a:pt x="2577337" y="4793932"/>
                  <a:pt x="2571258" y="4799737"/>
                  <a:pt x="2569909" y="4802588"/>
                </a:cubicBezTo>
                <a:cubicBezTo>
                  <a:pt x="2569187" y="4804102"/>
                  <a:pt x="2569527" y="4806306"/>
                  <a:pt x="2571759" y="4806609"/>
                </a:cubicBezTo>
                <a:cubicBezTo>
                  <a:pt x="2574094" y="4806937"/>
                  <a:pt x="2579697" y="4805633"/>
                  <a:pt x="2588942" y="4800881"/>
                </a:cubicBezTo>
                <a:cubicBezTo>
                  <a:pt x="2626669" y="4781491"/>
                  <a:pt x="2669956" y="4741996"/>
                  <a:pt x="2661416" y="4714910"/>
                </a:cubicBezTo>
                <a:cubicBezTo>
                  <a:pt x="2656212" y="4698380"/>
                  <a:pt x="2628239" y="4693392"/>
                  <a:pt x="2604596" y="4694494"/>
                </a:cubicBezTo>
                <a:close/>
                <a:moveTo>
                  <a:pt x="893329" y="0"/>
                </a:moveTo>
                <a:lnTo>
                  <a:pt x="3717682" y="0"/>
                </a:lnTo>
                <a:lnTo>
                  <a:pt x="3717682" y="5143499"/>
                </a:lnTo>
                <a:lnTo>
                  <a:pt x="1175798" y="5143499"/>
                </a:lnTo>
                <a:lnTo>
                  <a:pt x="1096714" y="5071623"/>
                </a:lnTo>
                <a:cubicBezTo>
                  <a:pt x="419108" y="4394017"/>
                  <a:pt x="0" y="3457913"/>
                  <a:pt x="0" y="2423921"/>
                </a:cubicBezTo>
                <a:cubicBezTo>
                  <a:pt x="0" y="1519180"/>
                  <a:pt x="320880" y="689382"/>
                  <a:pt x="855043" y="42126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noProof="0"/>
              <a:t>Insert image</a:t>
            </a:r>
          </a:p>
        </p:txBody>
      </p:sp>
      <p:sp>
        <p:nvSpPr>
          <p:cNvPr id="11" name="ZoneTexte 7">
            <a:extLst>
              <a:ext uri="{FF2B5EF4-FFF2-40B4-BE49-F238E27FC236}">
                <a16:creationId xmlns:a16="http://schemas.microsoft.com/office/drawing/2014/main" id="{D5E28100-23B4-0C41-9F0D-D979777516FC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cxnSp>
        <p:nvCxnSpPr>
          <p:cNvPr id="12" name="Connecteur droit 8">
            <a:extLst>
              <a:ext uri="{FF2B5EF4-FFF2-40B4-BE49-F238E27FC236}">
                <a16:creationId xmlns:a16="http://schemas.microsoft.com/office/drawing/2014/main" id="{EA4C756E-194C-4F3E-ABC9-E3B2DB21DD3B}"/>
              </a:ext>
            </a:extLst>
          </p:cNvPr>
          <p:cNvCxnSpPr>
            <a:cxnSpLocks/>
          </p:cNvCxnSpPr>
          <p:nvPr/>
        </p:nvCxnSpPr>
        <p:spPr>
          <a:xfrm>
            <a:off x="177217" y="323850"/>
            <a:ext cx="0" cy="44979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4275C9A1-9AF5-4D16-BE50-3EC7D1F7FF4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1149742" y="1665040"/>
            <a:ext cx="3961713" cy="2134800"/>
          </a:xfrm>
          <a:prstGeom prst="rect">
            <a:avLst/>
          </a:prstGeom>
        </p:spPr>
        <p:txBody>
          <a:bodyPr lIns="90000" tIns="0" rIns="0" bIns="0" anchor="ctr"/>
          <a:lstStyle>
            <a:lvl1pPr marL="0" indent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None/>
              <a:defRPr sz="2000" b="0" i="0">
                <a:latin typeface="3DS V2 SemiBold" pitchFamily="2" charset="0"/>
              </a:defRPr>
            </a:lvl1pPr>
            <a:lvl2pPr marL="345591" indent="-172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 Narrow" panose="020B0606020202030204" pitchFamily="34" charset="0"/>
              <a:buChar char="-"/>
              <a:defRPr sz="1200"/>
            </a:lvl2pPr>
            <a:lvl3pPr marL="518387" indent="-172796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Char char="▪"/>
              <a:defRPr sz="1100"/>
            </a:lvl3pPr>
            <a:lvl4pPr marL="691183" indent="-17279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4pPr>
          </a:lstStyle>
          <a:p>
            <a:pPr lvl="0"/>
            <a:r>
              <a:rPr lang="en-US" noProof="0" dirty="0"/>
              <a:t>Sit at </a:t>
            </a:r>
            <a:r>
              <a:rPr lang="en-US" noProof="0" dirty="0" err="1"/>
              <a:t>velit</a:t>
            </a:r>
            <a:r>
              <a:rPr lang="en-US" noProof="0" dirty="0"/>
              <a:t> </a:t>
            </a:r>
            <a:r>
              <a:rPr lang="en-US" noProof="0" dirty="0" err="1"/>
              <a:t>periculis</a:t>
            </a:r>
            <a:r>
              <a:rPr lang="en-US" noProof="0" dirty="0"/>
              <a:t>. </a:t>
            </a:r>
            <a:r>
              <a:rPr lang="en-US" noProof="0" dirty="0" err="1"/>
              <a:t>Usu</a:t>
            </a:r>
            <a:r>
              <a:rPr lang="en-US" noProof="0" dirty="0"/>
              <a:t> </a:t>
            </a:r>
            <a:r>
              <a:rPr lang="en-US" noProof="0" dirty="0" err="1"/>
              <a:t>ferri</a:t>
            </a:r>
            <a:r>
              <a:rPr lang="en-US" noProof="0" dirty="0"/>
              <a:t> </a:t>
            </a:r>
            <a:r>
              <a:rPr lang="en-US" noProof="0" dirty="0" err="1"/>
              <a:t>invenire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ea. Sed maiorum </a:t>
            </a:r>
            <a:r>
              <a:rPr lang="en-US" noProof="0" dirty="0" err="1"/>
              <a:t>legendos</a:t>
            </a:r>
            <a:r>
              <a:rPr lang="en-US" noProof="0" dirty="0"/>
              <a:t> </a:t>
            </a:r>
            <a:r>
              <a:rPr lang="en-US" noProof="0" dirty="0" err="1"/>
              <a:t>ea</a:t>
            </a:r>
            <a:r>
              <a:rPr lang="en-US" noProof="0" dirty="0"/>
              <a:t>, sit at </a:t>
            </a:r>
            <a:r>
              <a:rPr lang="en-US" noProof="0" dirty="0" err="1"/>
              <a:t>sonet</a:t>
            </a:r>
            <a:r>
              <a:rPr lang="en-US" noProof="0" dirty="0"/>
              <a:t> </a:t>
            </a:r>
            <a:r>
              <a:rPr lang="en-US" noProof="0" dirty="0" err="1"/>
              <a:t>molestie</a:t>
            </a:r>
            <a:r>
              <a:rPr lang="en-US" noProof="0" dirty="0"/>
              <a:t>. </a:t>
            </a:r>
          </a:p>
        </p:txBody>
      </p:sp>
      <p:sp>
        <p:nvSpPr>
          <p:cNvPr id="5" name="Footer Placeholder 12">
            <a:extLst>
              <a:ext uri="{FF2B5EF4-FFF2-40B4-BE49-F238E27FC236}">
                <a16:creationId xmlns:a16="http://schemas.microsoft.com/office/drawing/2014/main" id="{F485CAEB-5E07-6F04-EB62-480E3507DC2E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</p:spTree>
    <p:extLst>
      <p:ext uri="{BB962C8B-B14F-4D97-AF65-F5344CB8AC3E}">
        <p14:creationId xmlns:p14="http://schemas.microsoft.com/office/powerpoint/2010/main" val="10808014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pactful message V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rme libre 3">
            <a:extLst>
              <a:ext uri="{FF2B5EF4-FFF2-40B4-BE49-F238E27FC236}">
                <a16:creationId xmlns:a16="http://schemas.microsoft.com/office/drawing/2014/main" id="{7B0A659F-EFD1-444F-9E43-8DE421EF2903}"/>
              </a:ext>
            </a:extLst>
          </p:cNvPr>
          <p:cNvSpPr/>
          <p:nvPr/>
        </p:nvSpPr>
        <p:spPr>
          <a:xfrm>
            <a:off x="5426319" y="0"/>
            <a:ext cx="3717682" cy="5143500"/>
          </a:xfrm>
          <a:custGeom>
            <a:avLst/>
            <a:gdLst>
              <a:gd name="connsiteX0" fmla="*/ 893329 w 3717682"/>
              <a:gd name="connsiteY0" fmla="*/ 0 h 5143500"/>
              <a:gd name="connsiteX1" fmla="*/ 3717682 w 3717682"/>
              <a:gd name="connsiteY1" fmla="*/ 0 h 5143500"/>
              <a:gd name="connsiteX2" fmla="*/ 3717682 w 3717682"/>
              <a:gd name="connsiteY2" fmla="*/ 5143500 h 5143500"/>
              <a:gd name="connsiteX3" fmla="*/ 1175798 w 3717682"/>
              <a:gd name="connsiteY3" fmla="*/ 5143500 h 5143500"/>
              <a:gd name="connsiteX4" fmla="*/ 1096714 w 3717682"/>
              <a:gd name="connsiteY4" fmla="*/ 5071624 h 5143500"/>
              <a:gd name="connsiteX5" fmla="*/ 0 w 3717682"/>
              <a:gd name="connsiteY5" fmla="*/ 2423922 h 5143500"/>
              <a:gd name="connsiteX6" fmla="*/ 855043 w 3717682"/>
              <a:gd name="connsiteY6" fmla="*/ 42126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17682" h="5143500">
                <a:moveTo>
                  <a:pt x="893329" y="0"/>
                </a:moveTo>
                <a:lnTo>
                  <a:pt x="3717682" y="0"/>
                </a:lnTo>
                <a:lnTo>
                  <a:pt x="3717682" y="5143500"/>
                </a:lnTo>
                <a:lnTo>
                  <a:pt x="1175798" y="5143500"/>
                </a:lnTo>
                <a:lnTo>
                  <a:pt x="1096714" y="5071624"/>
                </a:lnTo>
                <a:cubicBezTo>
                  <a:pt x="419108" y="4394018"/>
                  <a:pt x="0" y="3457914"/>
                  <a:pt x="0" y="2423922"/>
                </a:cubicBezTo>
                <a:cubicBezTo>
                  <a:pt x="0" y="1519179"/>
                  <a:pt x="320880" y="689382"/>
                  <a:pt x="855043" y="42126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2267" noProof="0">
              <a:solidFill>
                <a:schemeClr val="tx1"/>
              </a:solidFill>
            </a:endParaRPr>
          </a:p>
        </p:txBody>
      </p:sp>
      <p:sp>
        <p:nvSpPr>
          <p:cNvPr id="17" name="ZoneTexte 7">
            <a:extLst>
              <a:ext uri="{FF2B5EF4-FFF2-40B4-BE49-F238E27FC236}">
                <a16:creationId xmlns:a16="http://schemas.microsoft.com/office/drawing/2014/main" id="{20FAB314-069B-7245-9CD1-1E8C141EB995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bg1"/>
                </a:solidFill>
              </a:rPr>
              <a:pPr algn="ctr"/>
              <a:t>‹#›</a:t>
            </a:fld>
            <a:endParaRPr lang="en-US" sz="800" noProof="1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6A92616C-3082-4BF8-82D6-4E39B7D717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37292" y="0"/>
            <a:ext cx="1649740" cy="2617520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BDCD690-2E7F-47AF-9C94-AEDA86A481C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801994" y="1620839"/>
            <a:ext cx="2996226" cy="19061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None/>
              <a:defRPr sz="2000" i="1"/>
            </a:lvl1pPr>
            <a:lvl2pPr marL="345591" indent="-172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 Narrow" panose="020B0606020202030204" pitchFamily="34" charset="0"/>
              <a:buChar char="-"/>
              <a:defRPr sz="1200"/>
            </a:lvl2pPr>
            <a:lvl3pPr marL="518387" indent="-172796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Char char="▪"/>
              <a:defRPr sz="1100"/>
            </a:lvl3pPr>
            <a:lvl4pPr marL="691183" indent="-17279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4pPr>
          </a:lstStyle>
          <a:p>
            <a:pPr lvl="0"/>
            <a:r>
              <a:rPr lang="en-US" noProof="0" dirty="0"/>
              <a:t>Sit at </a:t>
            </a:r>
            <a:r>
              <a:rPr lang="en-US" noProof="0" dirty="0" err="1"/>
              <a:t>velit</a:t>
            </a:r>
            <a:r>
              <a:rPr lang="en-US" noProof="0" dirty="0"/>
              <a:t> </a:t>
            </a:r>
            <a:r>
              <a:rPr lang="en-US" noProof="0" dirty="0" err="1"/>
              <a:t>periculis</a:t>
            </a:r>
            <a:r>
              <a:rPr lang="en-US" noProof="0" dirty="0"/>
              <a:t>. </a:t>
            </a:r>
            <a:r>
              <a:rPr lang="en-US" noProof="0" dirty="0" err="1"/>
              <a:t>Usu</a:t>
            </a:r>
            <a:r>
              <a:rPr lang="en-US" noProof="0" dirty="0"/>
              <a:t> </a:t>
            </a:r>
            <a:r>
              <a:rPr lang="en-US" noProof="0" dirty="0" err="1"/>
              <a:t>ferri</a:t>
            </a:r>
            <a:r>
              <a:rPr lang="en-US" noProof="0" dirty="0"/>
              <a:t> </a:t>
            </a:r>
            <a:r>
              <a:rPr lang="en-US" noProof="0" dirty="0" err="1"/>
              <a:t>invenire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ea. Sed maiorum </a:t>
            </a:r>
            <a:r>
              <a:rPr lang="en-US" noProof="0" dirty="0" err="1"/>
              <a:t>legendos</a:t>
            </a:r>
            <a:r>
              <a:rPr lang="en-US" noProof="0" dirty="0"/>
              <a:t> </a:t>
            </a:r>
            <a:r>
              <a:rPr lang="en-US" noProof="0" dirty="0" err="1"/>
              <a:t>ea</a:t>
            </a:r>
            <a:r>
              <a:rPr lang="en-US" noProof="0" dirty="0"/>
              <a:t>, sit at </a:t>
            </a:r>
            <a:r>
              <a:rPr lang="en-US" noProof="0" dirty="0" err="1"/>
              <a:t>sonet</a:t>
            </a:r>
            <a:r>
              <a:rPr lang="en-US" noProof="0" dirty="0"/>
              <a:t> </a:t>
            </a:r>
            <a:r>
              <a:rPr lang="en-US" noProof="0" dirty="0" err="1"/>
              <a:t>molestie</a:t>
            </a:r>
            <a:r>
              <a:rPr lang="en-US" noProof="0" dirty="0"/>
              <a:t>. Et </a:t>
            </a:r>
            <a:r>
              <a:rPr lang="en-US" noProof="0" dirty="0" err="1"/>
              <a:t>vero</a:t>
            </a:r>
            <a:r>
              <a:rPr lang="en-US" noProof="0" dirty="0"/>
              <a:t> brute </a:t>
            </a:r>
            <a:r>
              <a:rPr lang="en-US" noProof="0" dirty="0" err="1"/>
              <a:t>eum</a:t>
            </a:r>
            <a:r>
              <a:rPr lang="en-US" noProof="0" dirty="0"/>
              <a:t>, eros </a:t>
            </a:r>
            <a:r>
              <a:rPr lang="en-US" noProof="0" dirty="0" err="1"/>
              <a:t>aliquip</a:t>
            </a:r>
            <a:r>
              <a:rPr lang="en-US" noProof="0" dirty="0"/>
              <a:t> at vel, magna </a:t>
            </a:r>
            <a:r>
              <a:rPr lang="en-US" noProof="0" dirty="0" err="1"/>
              <a:t>causae</a:t>
            </a:r>
            <a:r>
              <a:rPr lang="en-US" noProof="0" dirty="0"/>
              <a:t> pro </a:t>
            </a:r>
            <a:r>
              <a:rPr lang="en-US" noProof="0" dirty="0" err="1"/>
              <a:t>te</a:t>
            </a:r>
            <a:r>
              <a:rPr lang="en-US" noProof="0" dirty="0"/>
              <a:t>.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2F6725DF-3957-A141-AB2D-F17326E0B49A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cxnSp>
        <p:nvCxnSpPr>
          <p:cNvPr id="7" name="Connecteur droit 8">
            <a:extLst>
              <a:ext uri="{FF2B5EF4-FFF2-40B4-BE49-F238E27FC236}">
                <a16:creationId xmlns:a16="http://schemas.microsoft.com/office/drawing/2014/main" id="{19EE6436-5417-5D8E-01DE-15B32476DD0F}"/>
              </a:ext>
            </a:extLst>
          </p:cNvPr>
          <p:cNvCxnSpPr>
            <a:cxnSpLocks/>
          </p:cNvCxnSpPr>
          <p:nvPr/>
        </p:nvCxnSpPr>
        <p:spPr>
          <a:xfrm>
            <a:off x="177217" y="323850"/>
            <a:ext cx="0" cy="4497900"/>
          </a:xfrm>
          <a:prstGeom prst="line">
            <a:avLst/>
          </a:prstGeom>
          <a:ln w="2540">
            <a:gradFill>
              <a:gsLst>
                <a:gs pos="0">
                  <a:schemeClr val="accent1"/>
                </a:gs>
                <a:gs pos="57000">
                  <a:schemeClr val="bg1">
                    <a:alpha val="13000"/>
                  </a:schemeClr>
                </a:gs>
                <a:gs pos="100000">
                  <a:schemeClr val="tx1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12">
            <a:extLst>
              <a:ext uri="{FF2B5EF4-FFF2-40B4-BE49-F238E27FC236}">
                <a16:creationId xmlns:a16="http://schemas.microsoft.com/office/drawing/2014/main" id="{51C5BE19-EBFF-0219-46C1-7D254BA6799E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>
                <a:solidFill>
                  <a:schemeClr val="bg1"/>
                </a:solidFill>
              </a:rPr>
              <a:t>© Dassault Systèmes | Confidential Information | 2024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570E23A-A940-041A-75D1-91355760D5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37292" y="0"/>
            <a:ext cx="1649740" cy="2617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207391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 + text - 1 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oneTexte 7">
            <a:extLst>
              <a:ext uri="{FF2B5EF4-FFF2-40B4-BE49-F238E27FC236}">
                <a16:creationId xmlns:a16="http://schemas.microsoft.com/office/drawing/2014/main" id="{CAD62B7D-30EE-D645-873E-4444E201BED4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E4C463AC-C609-4E95-9D85-6B94D3AC0DC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904" y="630182"/>
            <a:ext cx="8378384" cy="2308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kern="900" spc="0" baseline="0">
                <a:solidFill>
                  <a:schemeClr val="tx1"/>
                </a:solidFill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is is the slide subtitle</a:t>
            </a:r>
          </a:p>
        </p:txBody>
      </p:sp>
      <p:cxnSp>
        <p:nvCxnSpPr>
          <p:cNvPr id="18" name="Connecteur droit 8">
            <a:extLst>
              <a:ext uri="{FF2B5EF4-FFF2-40B4-BE49-F238E27FC236}">
                <a16:creationId xmlns:a16="http://schemas.microsoft.com/office/drawing/2014/main" id="{B560DC92-45A9-4298-BFD9-D29534643BAE}"/>
              </a:ext>
            </a:extLst>
          </p:cNvPr>
          <p:cNvCxnSpPr>
            <a:cxnSpLocks/>
          </p:cNvCxnSpPr>
          <p:nvPr/>
        </p:nvCxnSpPr>
        <p:spPr>
          <a:xfrm>
            <a:off x="177217" y="323850"/>
            <a:ext cx="0" cy="44979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hart Placeholder 2">
            <a:extLst>
              <a:ext uri="{FF2B5EF4-FFF2-40B4-BE49-F238E27FC236}">
                <a16:creationId xmlns:a16="http://schemas.microsoft.com/office/drawing/2014/main" id="{56F9DD30-0F68-41A2-965A-322FE98B54B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3943350" y="1185386"/>
            <a:ext cx="4817936" cy="338661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US" noProof="0"/>
              <a:t>Insert char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2F4493A9-6684-4DA6-93CD-D927F27D165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82591" y="1185385"/>
            <a:ext cx="3354235" cy="3384000"/>
          </a:xfrm>
          <a:prstGeom prst="rect">
            <a:avLst/>
          </a:prstGeom>
        </p:spPr>
        <p:txBody>
          <a:bodyPr lIns="0" tIns="0" rIns="0" bIns="0"/>
          <a:lstStyle>
            <a:lvl1pPr marL="172796" indent="-172796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200"/>
            </a:lvl1pPr>
            <a:lvl2pPr marL="345591" indent="-172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Char char="-"/>
              <a:defRPr sz="1100"/>
            </a:lvl2pPr>
            <a:lvl3pPr marL="518387" indent="-172796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Char char="▪"/>
              <a:defRPr sz="1000"/>
            </a:lvl3pPr>
            <a:lvl4pPr marL="691183" indent="-17279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800"/>
            </a:lvl4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03DE6470-35D2-4C49-959A-32ECC5D3DF3D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CF6C2A7A-BABB-9872-CA85-E7A29FDE84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937" y="312223"/>
            <a:ext cx="8378796" cy="32316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100000"/>
              </a:lnSpc>
              <a:defRPr lang="en-US" sz="2000" b="0" i="0" strike="noStrike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SLIDE TITLE</a:t>
            </a:r>
          </a:p>
        </p:txBody>
      </p:sp>
      <p:sp>
        <p:nvSpPr>
          <p:cNvPr id="6" name="Footer Placeholder 12">
            <a:extLst>
              <a:ext uri="{FF2B5EF4-FFF2-40B4-BE49-F238E27FC236}">
                <a16:creationId xmlns:a16="http://schemas.microsoft.com/office/drawing/2014/main" id="{93AAA68F-576B-28B6-1420-9E9BB4B9048C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</p:spTree>
    <p:extLst>
      <p:ext uri="{BB962C8B-B14F-4D97-AF65-F5344CB8AC3E}">
        <p14:creationId xmlns:p14="http://schemas.microsoft.com/office/powerpoint/2010/main" val="20902904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 + text - 2 line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FDE29D3A-7363-4E09-BE18-E9EB8A9302B0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2592" y="1530491"/>
            <a:ext cx="3354235" cy="3038895"/>
          </a:xfrm>
          <a:custGeom>
            <a:avLst/>
            <a:gdLst>
              <a:gd name="connsiteX0" fmla="*/ 0 w 3354235"/>
              <a:gd name="connsiteY0" fmla="*/ 0 h 3038895"/>
              <a:gd name="connsiteX1" fmla="*/ 3354235 w 3354235"/>
              <a:gd name="connsiteY1" fmla="*/ 0 h 3038895"/>
              <a:gd name="connsiteX2" fmla="*/ 3354235 w 3354235"/>
              <a:gd name="connsiteY2" fmla="*/ 3038895 h 3038895"/>
              <a:gd name="connsiteX3" fmla="*/ 0 w 3354235"/>
              <a:gd name="connsiteY3" fmla="*/ 3038895 h 3038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54235" h="3038895">
                <a:moveTo>
                  <a:pt x="0" y="0"/>
                </a:moveTo>
                <a:lnTo>
                  <a:pt x="3354235" y="0"/>
                </a:lnTo>
                <a:lnTo>
                  <a:pt x="3354235" y="3038895"/>
                </a:lnTo>
                <a:lnTo>
                  <a:pt x="0" y="3038895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>
            <a:lvl1pPr marL="172796" indent="-172796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200"/>
            </a:lvl1pPr>
            <a:lvl2pPr marL="345591" indent="-172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Char char="-"/>
              <a:defRPr sz="1100"/>
            </a:lvl2pPr>
            <a:lvl3pPr marL="518387" indent="-172796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Char char="▪"/>
              <a:defRPr sz="1000"/>
            </a:lvl3pPr>
            <a:lvl4pPr marL="691183" indent="-17279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800"/>
            </a:lvl4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EF2505C-1F95-3649-82BC-A77CD3A4C5B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905" y="988138"/>
            <a:ext cx="8378830" cy="2308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kern="900" spc="0" baseline="0">
                <a:solidFill>
                  <a:schemeClr val="tx1"/>
                </a:solidFill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is is the slide subtitle</a:t>
            </a:r>
          </a:p>
        </p:txBody>
      </p:sp>
      <p:sp>
        <p:nvSpPr>
          <p:cNvPr id="10" name="ZoneTexte 7">
            <a:extLst>
              <a:ext uri="{FF2B5EF4-FFF2-40B4-BE49-F238E27FC236}">
                <a16:creationId xmlns:a16="http://schemas.microsoft.com/office/drawing/2014/main" id="{CAD62B7D-30EE-D645-873E-4444E201BED4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cxnSp>
        <p:nvCxnSpPr>
          <p:cNvPr id="18" name="Connecteur droit 8">
            <a:extLst>
              <a:ext uri="{FF2B5EF4-FFF2-40B4-BE49-F238E27FC236}">
                <a16:creationId xmlns:a16="http://schemas.microsoft.com/office/drawing/2014/main" id="{A9F187C5-3001-47D7-82D1-610C05FC9A59}"/>
              </a:ext>
            </a:extLst>
          </p:cNvPr>
          <p:cNvCxnSpPr>
            <a:cxnSpLocks/>
          </p:cNvCxnSpPr>
          <p:nvPr/>
        </p:nvCxnSpPr>
        <p:spPr>
          <a:xfrm>
            <a:off x="177217" y="323850"/>
            <a:ext cx="0" cy="44979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hart Placeholder 2">
            <a:extLst>
              <a:ext uri="{FF2B5EF4-FFF2-40B4-BE49-F238E27FC236}">
                <a16:creationId xmlns:a16="http://schemas.microsoft.com/office/drawing/2014/main" id="{B5D5D560-C9FC-4B55-8F3A-12980951F2B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3943350" y="1533106"/>
            <a:ext cx="4818059" cy="303889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US" noProof="0"/>
              <a:t>Insert chart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A519838C-2C54-5440-9E72-7C6C9F5CC472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3E126E2D-18E2-E922-F9EC-4D270226A1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937" y="312223"/>
            <a:ext cx="8378796" cy="64633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lang="en-US" sz="2000" b="0" i="0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SLIDE TITLE</a:t>
            </a:r>
            <a:br>
              <a:rPr lang="en-US" noProof="0" dirty="0"/>
            </a:br>
            <a:r>
              <a:rPr lang="en-US" noProof="0" dirty="0"/>
              <a:t>IN 2 LINES</a:t>
            </a:r>
          </a:p>
        </p:txBody>
      </p:sp>
      <p:sp>
        <p:nvSpPr>
          <p:cNvPr id="6" name="Footer Placeholder 12">
            <a:extLst>
              <a:ext uri="{FF2B5EF4-FFF2-40B4-BE49-F238E27FC236}">
                <a16:creationId xmlns:a16="http://schemas.microsoft.com/office/drawing/2014/main" id="{10EF2706-EF99-A874-20DD-314F10A6D3E5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</p:spTree>
    <p:extLst>
      <p:ext uri="{BB962C8B-B14F-4D97-AF65-F5344CB8AC3E}">
        <p14:creationId xmlns:p14="http://schemas.microsoft.com/office/powerpoint/2010/main" val="89414298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Graphs - 1 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ZoneTexte 7">
            <a:extLst>
              <a:ext uri="{FF2B5EF4-FFF2-40B4-BE49-F238E27FC236}">
                <a16:creationId xmlns:a16="http://schemas.microsoft.com/office/drawing/2014/main" id="{0CA667B9-10B2-5340-9F48-B33CFAF9DB48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9143E142-CCC3-48E5-BCDC-169490F9B3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904" y="630182"/>
            <a:ext cx="8378384" cy="2308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kern="900" spc="0" baseline="0">
                <a:solidFill>
                  <a:schemeClr val="tx1"/>
                </a:solidFill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is is the slide subtitle</a:t>
            </a:r>
          </a:p>
        </p:txBody>
      </p:sp>
      <p:cxnSp>
        <p:nvCxnSpPr>
          <p:cNvPr id="15" name="Connecteur droit 8">
            <a:extLst>
              <a:ext uri="{FF2B5EF4-FFF2-40B4-BE49-F238E27FC236}">
                <a16:creationId xmlns:a16="http://schemas.microsoft.com/office/drawing/2014/main" id="{241F5401-BB88-4D56-9585-CF6264AD9817}"/>
              </a:ext>
            </a:extLst>
          </p:cNvPr>
          <p:cNvCxnSpPr>
            <a:cxnSpLocks/>
          </p:cNvCxnSpPr>
          <p:nvPr/>
        </p:nvCxnSpPr>
        <p:spPr>
          <a:xfrm>
            <a:off x="177217" y="323850"/>
            <a:ext cx="0" cy="44979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hart Placeholder 2">
            <a:extLst>
              <a:ext uri="{FF2B5EF4-FFF2-40B4-BE49-F238E27FC236}">
                <a16:creationId xmlns:a16="http://schemas.microsoft.com/office/drawing/2014/main" id="{B580869B-FE49-4179-BB24-7CDE52DB06F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382904" y="1185386"/>
            <a:ext cx="4064470" cy="338661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US" noProof="0"/>
              <a:t>Insert chart</a:t>
            </a:r>
          </a:p>
        </p:txBody>
      </p:sp>
      <p:sp>
        <p:nvSpPr>
          <p:cNvPr id="21" name="Chart Placeholder 2">
            <a:extLst>
              <a:ext uri="{FF2B5EF4-FFF2-40B4-BE49-F238E27FC236}">
                <a16:creationId xmlns:a16="http://schemas.microsoft.com/office/drawing/2014/main" id="{3DFFB2D5-9912-41F7-8C4E-7A42C73848B9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4695986" y="1185386"/>
            <a:ext cx="4065111" cy="338661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US" noProof="0"/>
              <a:t>Insert chart</a:t>
            </a: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E12F56DF-F7A2-A84C-809B-31390ECBBC59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4" name="Titre 1">
            <a:extLst>
              <a:ext uri="{FF2B5EF4-FFF2-40B4-BE49-F238E27FC236}">
                <a16:creationId xmlns:a16="http://schemas.microsoft.com/office/drawing/2014/main" id="{ED169AAE-5681-43D8-D889-DE163C25DB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937" y="312223"/>
            <a:ext cx="8378796" cy="32316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100000"/>
              </a:lnSpc>
              <a:defRPr lang="en-US" sz="2000" b="0" i="0" strike="noStrike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SLIDE TITLE</a:t>
            </a:r>
          </a:p>
        </p:txBody>
      </p:sp>
      <p:sp>
        <p:nvSpPr>
          <p:cNvPr id="6" name="Footer Placeholder 12">
            <a:extLst>
              <a:ext uri="{FF2B5EF4-FFF2-40B4-BE49-F238E27FC236}">
                <a16:creationId xmlns:a16="http://schemas.microsoft.com/office/drawing/2014/main" id="{9BF058C2-9DCD-1BAB-4EBB-F2F9AF1209FB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</p:spTree>
    <p:extLst>
      <p:ext uri="{BB962C8B-B14F-4D97-AF65-F5344CB8AC3E}">
        <p14:creationId xmlns:p14="http://schemas.microsoft.com/office/powerpoint/2010/main" val="161210172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Graph - 2 line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BC52370C-3B93-BA4F-90EB-FDD3FE71C0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905" y="988138"/>
            <a:ext cx="8378830" cy="2308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kern="900" spc="0" baseline="0">
                <a:solidFill>
                  <a:schemeClr val="tx1"/>
                </a:solidFill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is is the slide subtitle</a:t>
            </a:r>
          </a:p>
        </p:txBody>
      </p:sp>
      <p:sp>
        <p:nvSpPr>
          <p:cNvPr id="13" name="ZoneTexte 7">
            <a:extLst>
              <a:ext uri="{FF2B5EF4-FFF2-40B4-BE49-F238E27FC236}">
                <a16:creationId xmlns:a16="http://schemas.microsoft.com/office/drawing/2014/main" id="{0CA667B9-10B2-5340-9F48-B33CFAF9DB48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cxnSp>
        <p:nvCxnSpPr>
          <p:cNvPr id="15" name="Connecteur droit 8">
            <a:extLst>
              <a:ext uri="{FF2B5EF4-FFF2-40B4-BE49-F238E27FC236}">
                <a16:creationId xmlns:a16="http://schemas.microsoft.com/office/drawing/2014/main" id="{1B40FC61-8E9D-487D-8B0C-0512D4F45B62}"/>
              </a:ext>
            </a:extLst>
          </p:cNvPr>
          <p:cNvCxnSpPr>
            <a:cxnSpLocks/>
          </p:cNvCxnSpPr>
          <p:nvPr/>
        </p:nvCxnSpPr>
        <p:spPr>
          <a:xfrm>
            <a:off x="177217" y="323850"/>
            <a:ext cx="0" cy="44979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hart Placeholder 2">
            <a:extLst>
              <a:ext uri="{FF2B5EF4-FFF2-40B4-BE49-F238E27FC236}">
                <a16:creationId xmlns:a16="http://schemas.microsoft.com/office/drawing/2014/main" id="{C883D573-D85A-44EF-A74A-226004F0DD74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382904" y="1533106"/>
            <a:ext cx="4065109" cy="303889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US" noProof="0"/>
              <a:t>Insert chart</a:t>
            </a:r>
          </a:p>
        </p:txBody>
      </p:sp>
      <p:sp>
        <p:nvSpPr>
          <p:cNvPr id="22" name="Chart Placeholder 2">
            <a:extLst>
              <a:ext uri="{FF2B5EF4-FFF2-40B4-BE49-F238E27FC236}">
                <a16:creationId xmlns:a16="http://schemas.microsoft.com/office/drawing/2014/main" id="{B854AC56-5F45-4999-A780-DAE57800E32F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4695986" y="1533106"/>
            <a:ext cx="4065751" cy="303889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US" noProof="0" dirty="0"/>
              <a:t>Insert chart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CEFBCC15-61C1-694E-B25C-95110FB8E5B0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4" name="Titre 1">
            <a:extLst>
              <a:ext uri="{FF2B5EF4-FFF2-40B4-BE49-F238E27FC236}">
                <a16:creationId xmlns:a16="http://schemas.microsoft.com/office/drawing/2014/main" id="{1A197B08-1EC4-1FFC-A02C-FBF14CA8B4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937" y="312223"/>
            <a:ext cx="8378796" cy="64633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lang="en-US" sz="2000" b="0" i="0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SLIDE TITLE</a:t>
            </a:r>
            <a:br>
              <a:rPr lang="en-US" noProof="0" dirty="0"/>
            </a:br>
            <a:r>
              <a:rPr lang="en-US" noProof="0" dirty="0"/>
              <a:t>IN 2 LINES</a:t>
            </a:r>
          </a:p>
        </p:txBody>
      </p:sp>
      <p:sp>
        <p:nvSpPr>
          <p:cNvPr id="6" name="Footer Placeholder 12">
            <a:extLst>
              <a:ext uri="{FF2B5EF4-FFF2-40B4-BE49-F238E27FC236}">
                <a16:creationId xmlns:a16="http://schemas.microsoft.com/office/drawing/2014/main" id="{9C3FC975-0618-6024-854B-8F6028625F69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</p:spTree>
    <p:extLst>
      <p:ext uri="{BB962C8B-B14F-4D97-AF65-F5344CB8AC3E}">
        <p14:creationId xmlns:p14="http://schemas.microsoft.com/office/powerpoint/2010/main" val="211147407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 only - 1 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oneTexte 7">
            <a:extLst>
              <a:ext uri="{FF2B5EF4-FFF2-40B4-BE49-F238E27FC236}">
                <a16:creationId xmlns:a16="http://schemas.microsoft.com/office/drawing/2014/main" id="{F288ED3E-A9C4-AC41-8ED2-F8612385A2BD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BD0AA781-C64B-4621-94F8-C750E1CF59A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904" y="630182"/>
            <a:ext cx="8378385" cy="2308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kern="900" spc="0" baseline="0">
                <a:solidFill>
                  <a:schemeClr val="tx1"/>
                </a:solidFill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his is the slide subtitle</a:t>
            </a:r>
          </a:p>
        </p:txBody>
      </p:sp>
      <p:cxnSp>
        <p:nvCxnSpPr>
          <p:cNvPr id="16" name="Connecteur droit 8">
            <a:extLst>
              <a:ext uri="{FF2B5EF4-FFF2-40B4-BE49-F238E27FC236}">
                <a16:creationId xmlns:a16="http://schemas.microsoft.com/office/drawing/2014/main" id="{BA08A484-23E0-431D-B5CE-6AD504F83139}"/>
              </a:ext>
            </a:extLst>
          </p:cNvPr>
          <p:cNvCxnSpPr>
            <a:cxnSpLocks/>
          </p:cNvCxnSpPr>
          <p:nvPr/>
        </p:nvCxnSpPr>
        <p:spPr>
          <a:xfrm>
            <a:off x="177217" y="323850"/>
            <a:ext cx="0" cy="44979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hart Placeholder 2">
            <a:extLst>
              <a:ext uri="{FF2B5EF4-FFF2-40B4-BE49-F238E27FC236}">
                <a16:creationId xmlns:a16="http://schemas.microsoft.com/office/drawing/2014/main" id="{B2656E46-4EF8-44EB-A3BA-8E234F8F5949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382903" y="1240528"/>
            <a:ext cx="8378384" cy="333147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US" noProof="0"/>
              <a:t>Insert chart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2E16C0B9-0880-8F41-B723-F54B3A1ADA42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4" name="Titre 1">
            <a:extLst>
              <a:ext uri="{FF2B5EF4-FFF2-40B4-BE49-F238E27FC236}">
                <a16:creationId xmlns:a16="http://schemas.microsoft.com/office/drawing/2014/main" id="{C450BD91-B79D-6A7E-42A3-C280891320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938" y="312223"/>
            <a:ext cx="8378797" cy="32316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100000"/>
              </a:lnSpc>
              <a:defRPr lang="en-US" sz="2000" b="0" i="0" strike="noStrike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SLIDE TITLE</a:t>
            </a:r>
          </a:p>
        </p:txBody>
      </p:sp>
      <p:sp>
        <p:nvSpPr>
          <p:cNvPr id="6" name="Footer Placeholder 12">
            <a:extLst>
              <a:ext uri="{FF2B5EF4-FFF2-40B4-BE49-F238E27FC236}">
                <a16:creationId xmlns:a16="http://schemas.microsoft.com/office/drawing/2014/main" id="{588E945D-29C2-8A3B-30BE-119F3830B03E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  <p:sp>
        <p:nvSpPr>
          <p:cNvPr id="2" name="ZoneTexte 7">
            <a:extLst>
              <a:ext uri="{FF2B5EF4-FFF2-40B4-BE49-F238E27FC236}">
                <a16:creationId xmlns:a16="http://schemas.microsoft.com/office/drawing/2014/main" id="{A6532ED2-BB55-7430-9C3E-3621E5CC5F53}"/>
              </a:ext>
            </a:extLst>
          </p:cNvPr>
          <p:cNvSpPr txBox="1"/>
          <p:nvPr userDrawn="1"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cxnSp>
        <p:nvCxnSpPr>
          <p:cNvPr id="3" name="Connecteur droit 8">
            <a:extLst>
              <a:ext uri="{FF2B5EF4-FFF2-40B4-BE49-F238E27FC236}">
                <a16:creationId xmlns:a16="http://schemas.microsoft.com/office/drawing/2014/main" id="{4070CF06-964D-8DF5-553E-30B0AEC4D536}"/>
              </a:ext>
            </a:extLst>
          </p:cNvPr>
          <p:cNvCxnSpPr>
            <a:cxnSpLocks/>
          </p:cNvCxnSpPr>
          <p:nvPr userDrawn="1"/>
        </p:nvCxnSpPr>
        <p:spPr>
          <a:xfrm>
            <a:off x="177217" y="323850"/>
            <a:ext cx="0" cy="44979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Image 10">
            <a:extLst>
              <a:ext uri="{FF2B5EF4-FFF2-40B4-BE49-F238E27FC236}">
                <a16:creationId xmlns:a16="http://schemas.microsoft.com/office/drawing/2014/main" id="{9EB68AE5-AB2B-8845-EED4-1FF7E09DB6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7" name="Footer Placeholder 12">
            <a:extLst>
              <a:ext uri="{FF2B5EF4-FFF2-40B4-BE49-F238E27FC236}">
                <a16:creationId xmlns:a16="http://schemas.microsoft.com/office/drawing/2014/main" id="{8911B183-53CA-CC19-DB4F-552E13F77E4E}"/>
              </a:ext>
            </a:extLst>
          </p:cNvPr>
          <p:cNvSpPr txBox="1">
            <a:spLocks/>
          </p:cNvSpPr>
          <p:nvPr userDrawn="1"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</p:spTree>
    <p:extLst>
      <p:ext uri="{BB962C8B-B14F-4D97-AF65-F5344CB8AC3E}">
        <p14:creationId xmlns:p14="http://schemas.microsoft.com/office/powerpoint/2010/main" val="36469946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 only - 2 line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oneTexte 7">
            <a:extLst>
              <a:ext uri="{FF2B5EF4-FFF2-40B4-BE49-F238E27FC236}">
                <a16:creationId xmlns:a16="http://schemas.microsoft.com/office/drawing/2014/main" id="{F288ED3E-A9C4-AC41-8ED2-F8612385A2BD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D89B8EAD-7EE5-CD41-9D0D-BC9A90591A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905" y="988138"/>
            <a:ext cx="8378830" cy="215444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kern="900" spc="0" baseline="0">
                <a:solidFill>
                  <a:schemeClr val="tx1"/>
                </a:solidFill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is is the slide subtitle</a:t>
            </a:r>
          </a:p>
        </p:txBody>
      </p:sp>
      <p:cxnSp>
        <p:nvCxnSpPr>
          <p:cNvPr id="16" name="Connecteur droit 8">
            <a:extLst>
              <a:ext uri="{FF2B5EF4-FFF2-40B4-BE49-F238E27FC236}">
                <a16:creationId xmlns:a16="http://schemas.microsoft.com/office/drawing/2014/main" id="{FAD8D98F-A73D-4D06-9361-4DDB0A71E819}"/>
              </a:ext>
            </a:extLst>
          </p:cNvPr>
          <p:cNvCxnSpPr>
            <a:cxnSpLocks/>
          </p:cNvCxnSpPr>
          <p:nvPr/>
        </p:nvCxnSpPr>
        <p:spPr>
          <a:xfrm>
            <a:off x="177217" y="323850"/>
            <a:ext cx="0" cy="44979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hart Placeholder 2">
            <a:extLst>
              <a:ext uri="{FF2B5EF4-FFF2-40B4-BE49-F238E27FC236}">
                <a16:creationId xmlns:a16="http://schemas.microsoft.com/office/drawing/2014/main" id="{657D95C7-47CB-496F-AF2C-A661F7B950B1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382903" y="1591734"/>
            <a:ext cx="8378369" cy="298026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US" noProof="0"/>
              <a:t>Insert chart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F2CC0C88-B2A6-344A-8667-17E82177A8F1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DA69B8B-912F-120E-2B6D-BB3FD0A17B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937" y="312223"/>
            <a:ext cx="8378796" cy="61555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lang="en-US" sz="2000" b="0" i="0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SLIDE TITLE</a:t>
            </a:r>
            <a:br>
              <a:rPr lang="en-US" noProof="0" dirty="0"/>
            </a:br>
            <a:r>
              <a:rPr lang="en-US" noProof="0" dirty="0"/>
              <a:t>IN 2 LINES</a:t>
            </a:r>
          </a:p>
        </p:txBody>
      </p:sp>
      <p:sp>
        <p:nvSpPr>
          <p:cNvPr id="6" name="Footer Placeholder 12">
            <a:extLst>
              <a:ext uri="{FF2B5EF4-FFF2-40B4-BE49-F238E27FC236}">
                <a16:creationId xmlns:a16="http://schemas.microsoft.com/office/drawing/2014/main" id="{DB915DB3-6E43-3106-E18F-AB55094DE590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</p:spTree>
    <p:extLst>
      <p:ext uri="{BB962C8B-B14F-4D97-AF65-F5344CB8AC3E}">
        <p14:creationId xmlns:p14="http://schemas.microsoft.com/office/powerpoint/2010/main" val="37644529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- 1 lin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6789E206-C5AD-47E5-A47D-8FC93D2C16FB}"/>
              </a:ext>
            </a:extLst>
          </p:cNvPr>
          <p:cNvSpPr/>
          <p:nvPr/>
        </p:nvSpPr>
        <p:spPr>
          <a:xfrm>
            <a:off x="382939" y="1286934"/>
            <a:ext cx="4002392" cy="3124564"/>
          </a:xfrm>
          <a:prstGeom prst="roundRect">
            <a:avLst>
              <a:gd name="adj" fmla="val 2351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67" noProof="0">
              <a:solidFill>
                <a:schemeClr val="tx1"/>
              </a:solidFill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E0616FD8-62C6-4466-AE39-D2E22BCFC67A}"/>
              </a:ext>
            </a:extLst>
          </p:cNvPr>
          <p:cNvSpPr/>
          <p:nvPr/>
        </p:nvSpPr>
        <p:spPr>
          <a:xfrm>
            <a:off x="4758670" y="1286934"/>
            <a:ext cx="4002392" cy="3124564"/>
          </a:xfrm>
          <a:prstGeom prst="roundRect">
            <a:avLst>
              <a:gd name="adj" fmla="val 308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67" noProof="0">
              <a:solidFill>
                <a:schemeClr val="tx1"/>
              </a:solidFill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7EE0ABB-0322-46E6-B135-5AB630CEA3A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9216" y="1491054"/>
            <a:ext cx="3519026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 i="0">
                <a:solidFill>
                  <a:schemeClr val="tx1"/>
                </a:solidFill>
                <a:latin typeface="3DS V2 SemiBold" pitchFamily="2" charset="0"/>
              </a:defRPr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1E39F0C4-2EDF-D849-95EA-D42B852A321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05759" y="1491054"/>
            <a:ext cx="3519026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 i="0">
                <a:solidFill>
                  <a:schemeClr val="tx1"/>
                </a:solidFill>
                <a:latin typeface="3DS V2 SemiBold" pitchFamily="2" charset="0"/>
              </a:defRPr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4" name="ZoneTexte 7">
            <a:extLst>
              <a:ext uri="{FF2B5EF4-FFF2-40B4-BE49-F238E27FC236}">
                <a16:creationId xmlns:a16="http://schemas.microsoft.com/office/drawing/2014/main" id="{854B2E12-7FEA-9F42-862D-A1D8E039D65C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1716FDA2-DC8F-4A2F-808F-98CC15FB804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905" y="630182"/>
            <a:ext cx="8377709" cy="2308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kern="900" spc="0" baseline="0">
                <a:solidFill>
                  <a:schemeClr val="tx1"/>
                </a:solidFill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is is the slide subtitle</a:t>
            </a:r>
          </a:p>
        </p:txBody>
      </p:sp>
      <p:cxnSp>
        <p:nvCxnSpPr>
          <p:cNvPr id="18" name="Connecteur droit 8">
            <a:extLst>
              <a:ext uri="{FF2B5EF4-FFF2-40B4-BE49-F238E27FC236}">
                <a16:creationId xmlns:a16="http://schemas.microsoft.com/office/drawing/2014/main" id="{8CA3988A-A5B7-4348-84AF-7B39B07064C7}"/>
              </a:ext>
            </a:extLst>
          </p:cNvPr>
          <p:cNvCxnSpPr>
            <a:cxnSpLocks/>
          </p:cNvCxnSpPr>
          <p:nvPr/>
        </p:nvCxnSpPr>
        <p:spPr>
          <a:xfrm>
            <a:off x="177217" y="323850"/>
            <a:ext cx="0" cy="44979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A4AFFCB1-086E-4C42-865A-E5AF0D851E62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4192" y="1896534"/>
            <a:ext cx="3519020" cy="2218266"/>
          </a:xfrm>
          <a:custGeom>
            <a:avLst/>
            <a:gdLst>
              <a:gd name="connsiteX0" fmla="*/ 0 w 3440310"/>
              <a:gd name="connsiteY0" fmla="*/ 0 h 2218266"/>
              <a:gd name="connsiteX1" fmla="*/ 3440310 w 3440310"/>
              <a:gd name="connsiteY1" fmla="*/ 0 h 2218266"/>
              <a:gd name="connsiteX2" fmla="*/ 3440310 w 3440310"/>
              <a:gd name="connsiteY2" fmla="*/ 2218266 h 2218266"/>
              <a:gd name="connsiteX3" fmla="*/ 0 w 3440310"/>
              <a:gd name="connsiteY3" fmla="*/ 2218266 h 2218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40310" h="2218266">
                <a:moveTo>
                  <a:pt x="0" y="0"/>
                </a:moveTo>
                <a:lnTo>
                  <a:pt x="3440310" y="0"/>
                </a:lnTo>
                <a:lnTo>
                  <a:pt x="3440310" y="2218266"/>
                </a:lnTo>
                <a:lnTo>
                  <a:pt x="0" y="2218266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>
            <a:lvl1pPr marL="172796" indent="-172796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200"/>
            </a:lvl1pPr>
            <a:lvl2pPr marL="345591" indent="-172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Char char="-"/>
              <a:defRPr sz="1100"/>
            </a:lvl2pPr>
            <a:lvl3pPr marL="518387" indent="-172796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Char char="▪"/>
              <a:defRPr sz="1000"/>
            </a:lvl3pPr>
            <a:lvl4pPr marL="691183" indent="-17279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800"/>
            </a:lvl4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40D52AC6-3BBD-4897-9D61-F7689C37FE6F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5005759" y="1896534"/>
            <a:ext cx="3519020" cy="2218266"/>
          </a:xfrm>
          <a:custGeom>
            <a:avLst/>
            <a:gdLst>
              <a:gd name="connsiteX0" fmla="*/ 0 w 3440310"/>
              <a:gd name="connsiteY0" fmla="*/ 0 h 2218266"/>
              <a:gd name="connsiteX1" fmla="*/ 3440310 w 3440310"/>
              <a:gd name="connsiteY1" fmla="*/ 0 h 2218266"/>
              <a:gd name="connsiteX2" fmla="*/ 3440310 w 3440310"/>
              <a:gd name="connsiteY2" fmla="*/ 2218266 h 2218266"/>
              <a:gd name="connsiteX3" fmla="*/ 0 w 3440310"/>
              <a:gd name="connsiteY3" fmla="*/ 2218266 h 2218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40310" h="2218266">
                <a:moveTo>
                  <a:pt x="0" y="0"/>
                </a:moveTo>
                <a:lnTo>
                  <a:pt x="3440310" y="0"/>
                </a:lnTo>
                <a:lnTo>
                  <a:pt x="3440310" y="2218266"/>
                </a:lnTo>
                <a:lnTo>
                  <a:pt x="0" y="2218266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>
            <a:lvl1pPr marL="172796" indent="-172796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200"/>
            </a:lvl1pPr>
            <a:lvl2pPr marL="345591" indent="-172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Char char="-"/>
              <a:defRPr sz="1100"/>
            </a:lvl2pPr>
            <a:lvl3pPr marL="518387" indent="-172796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Char char="▪"/>
              <a:defRPr sz="1000"/>
            </a:lvl3pPr>
            <a:lvl4pPr marL="691183" indent="-17279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800"/>
            </a:lvl4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C5CC7074-05E9-F044-BF46-4856D9271608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4" name="Titre 1">
            <a:extLst>
              <a:ext uri="{FF2B5EF4-FFF2-40B4-BE49-F238E27FC236}">
                <a16:creationId xmlns:a16="http://schemas.microsoft.com/office/drawing/2014/main" id="{21C3635D-306E-55D0-434E-F5D2B35868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938" y="312223"/>
            <a:ext cx="8378121" cy="32316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100000"/>
              </a:lnSpc>
              <a:defRPr lang="en-US" sz="2000" b="0" i="0" strike="noStrike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SLIDE TITLE</a:t>
            </a:r>
          </a:p>
        </p:txBody>
      </p:sp>
      <p:sp>
        <p:nvSpPr>
          <p:cNvPr id="7" name="Footer Placeholder 12">
            <a:extLst>
              <a:ext uri="{FF2B5EF4-FFF2-40B4-BE49-F238E27FC236}">
                <a16:creationId xmlns:a16="http://schemas.microsoft.com/office/drawing/2014/main" id="{9730F986-B5D9-FAE6-5C79-618B10583148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D2C8E7AA-9D88-B965-3EC2-07B450932308}"/>
              </a:ext>
            </a:extLst>
          </p:cNvPr>
          <p:cNvSpPr/>
          <p:nvPr userDrawn="1"/>
        </p:nvSpPr>
        <p:spPr>
          <a:xfrm>
            <a:off x="382939" y="1286934"/>
            <a:ext cx="4002392" cy="3124564"/>
          </a:xfrm>
          <a:prstGeom prst="roundRect">
            <a:avLst>
              <a:gd name="adj" fmla="val 2351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67" noProof="0">
              <a:solidFill>
                <a:schemeClr val="tx1"/>
              </a:solidFill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D2744F47-E2EA-6DA1-7006-CAE872268CDD}"/>
              </a:ext>
            </a:extLst>
          </p:cNvPr>
          <p:cNvSpPr/>
          <p:nvPr userDrawn="1"/>
        </p:nvSpPr>
        <p:spPr>
          <a:xfrm>
            <a:off x="4758670" y="1286934"/>
            <a:ext cx="4002392" cy="3124564"/>
          </a:xfrm>
          <a:prstGeom prst="roundRect">
            <a:avLst>
              <a:gd name="adj" fmla="val 308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67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61528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>
            <a:extLst>
              <a:ext uri="{FF2B5EF4-FFF2-40B4-BE49-F238E27FC236}">
                <a16:creationId xmlns:a16="http://schemas.microsoft.com/office/drawing/2014/main" id="{23B521CC-7B05-4C2E-BA5E-B65F5CA9C1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86944" y="424015"/>
            <a:ext cx="4970113" cy="369332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ctr">
              <a:lnSpc>
                <a:spcPct val="100000"/>
              </a:lnSpc>
              <a:tabLst>
                <a:tab pos="1706520" algn="l"/>
              </a:tabLst>
              <a:defRPr lang="en-US" sz="2000" b="0" i="0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ABLE OF CONTENTS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id="{B34C3BE3-5C95-4A64-B73B-5A274E54016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56368" y="1212165"/>
            <a:ext cx="5231266" cy="389513"/>
          </a:xfrm>
          <a:prstGeom prst="roundRect">
            <a:avLst>
              <a:gd name="adj" fmla="val 50000"/>
            </a:avLst>
          </a:prstGeom>
          <a:noFill/>
        </p:spPr>
        <p:txBody>
          <a:bodyPr lIns="28800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This is the name of the section</a:t>
            </a:r>
          </a:p>
        </p:txBody>
      </p:sp>
      <p:sp>
        <p:nvSpPr>
          <p:cNvPr id="12" name="Espace réservé du texte 5">
            <a:extLst>
              <a:ext uri="{FF2B5EF4-FFF2-40B4-BE49-F238E27FC236}">
                <a16:creationId xmlns:a16="http://schemas.microsoft.com/office/drawing/2014/main" id="{CF81852F-49BD-45B9-BBDF-3F35D57118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56368" y="1775695"/>
            <a:ext cx="5231266" cy="389513"/>
          </a:xfrm>
          <a:prstGeom prst="roundRect">
            <a:avLst>
              <a:gd name="adj" fmla="val 50000"/>
            </a:avLst>
          </a:prstGeom>
          <a:noFill/>
        </p:spPr>
        <p:txBody>
          <a:bodyPr lIns="28800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This is the name of the section</a:t>
            </a:r>
          </a:p>
        </p:txBody>
      </p:sp>
      <p:sp>
        <p:nvSpPr>
          <p:cNvPr id="13" name="Espace réservé du texte 5">
            <a:extLst>
              <a:ext uri="{FF2B5EF4-FFF2-40B4-BE49-F238E27FC236}">
                <a16:creationId xmlns:a16="http://schemas.microsoft.com/office/drawing/2014/main" id="{CEDF0D5A-7AC5-494F-AF50-41A9970E9B4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956368" y="2339225"/>
            <a:ext cx="5231266" cy="389513"/>
          </a:xfrm>
          <a:prstGeom prst="roundRect">
            <a:avLst>
              <a:gd name="adj" fmla="val 50000"/>
            </a:avLst>
          </a:prstGeom>
          <a:noFill/>
        </p:spPr>
        <p:txBody>
          <a:bodyPr lIns="28800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This is the name of the section</a:t>
            </a:r>
          </a:p>
        </p:txBody>
      </p:sp>
      <p:sp>
        <p:nvSpPr>
          <p:cNvPr id="14" name="Espace réservé du texte 5">
            <a:extLst>
              <a:ext uri="{FF2B5EF4-FFF2-40B4-BE49-F238E27FC236}">
                <a16:creationId xmlns:a16="http://schemas.microsoft.com/office/drawing/2014/main" id="{B56EEC8B-0F3C-48CF-8C1E-BD1D112FA2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56368" y="2902755"/>
            <a:ext cx="5231266" cy="389513"/>
          </a:xfrm>
          <a:prstGeom prst="roundRect">
            <a:avLst>
              <a:gd name="adj" fmla="val 50000"/>
            </a:avLst>
          </a:prstGeom>
          <a:noFill/>
        </p:spPr>
        <p:txBody>
          <a:bodyPr lIns="28800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This is the name of the section</a:t>
            </a:r>
          </a:p>
        </p:txBody>
      </p:sp>
      <p:sp>
        <p:nvSpPr>
          <p:cNvPr id="15" name="Espace réservé du texte 5">
            <a:extLst>
              <a:ext uri="{FF2B5EF4-FFF2-40B4-BE49-F238E27FC236}">
                <a16:creationId xmlns:a16="http://schemas.microsoft.com/office/drawing/2014/main" id="{DAE94A33-EECD-4586-8D7D-A2883402807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956368" y="3466285"/>
            <a:ext cx="5231266" cy="389513"/>
          </a:xfrm>
          <a:prstGeom prst="roundRect">
            <a:avLst>
              <a:gd name="adj" fmla="val 50000"/>
            </a:avLst>
          </a:prstGeom>
          <a:noFill/>
        </p:spPr>
        <p:txBody>
          <a:bodyPr lIns="28800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This is the name of the section</a:t>
            </a:r>
          </a:p>
        </p:txBody>
      </p:sp>
      <p:sp>
        <p:nvSpPr>
          <p:cNvPr id="16" name="Espace réservé du texte 5">
            <a:extLst>
              <a:ext uri="{FF2B5EF4-FFF2-40B4-BE49-F238E27FC236}">
                <a16:creationId xmlns:a16="http://schemas.microsoft.com/office/drawing/2014/main" id="{DD024ED7-5BEB-4173-9E13-F737ABB9636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56368" y="4029815"/>
            <a:ext cx="5231266" cy="389513"/>
          </a:xfrm>
          <a:prstGeom prst="roundRect">
            <a:avLst>
              <a:gd name="adj" fmla="val 50000"/>
            </a:avLst>
          </a:prstGeom>
          <a:noFill/>
        </p:spPr>
        <p:txBody>
          <a:bodyPr lIns="28800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This is the name of the section</a:t>
            </a:r>
          </a:p>
        </p:txBody>
      </p:sp>
      <p:sp>
        <p:nvSpPr>
          <p:cNvPr id="19" name="ZoneTexte 7">
            <a:extLst>
              <a:ext uri="{FF2B5EF4-FFF2-40B4-BE49-F238E27FC236}">
                <a16:creationId xmlns:a16="http://schemas.microsoft.com/office/drawing/2014/main" id="{A2067B04-117E-4F9B-8F7C-63907A4B6548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0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0">
              <a:solidFill>
                <a:schemeClr val="tx1"/>
              </a:solidFill>
            </a:endParaRPr>
          </a:p>
        </p:txBody>
      </p:sp>
      <p:cxnSp>
        <p:nvCxnSpPr>
          <p:cNvPr id="21" name="Connecteur droit 8">
            <a:extLst>
              <a:ext uri="{FF2B5EF4-FFF2-40B4-BE49-F238E27FC236}">
                <a16:creationId xmlns:a16="http://schemas.microsoft.com/office/drawing/2014/main" id="{2C3516F2-70A7-469B-B546-24739C197C50}"/>
              </a:ext>
            </a:extLst>
          </p:cNvPr>
          <p:cNvCxnSpPr>
            <a:cxnSpLocks/>
          </p:cNvCxnSpPr>
          <p:nvPr/>
        </p:nvCxnSpPr>
        <p:spPr>
          <a:xfrm>
            <a:off x="177217" y="321750"/>
            <a:ext cx="0" cy="45000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 16">
            <a:extLst>
              <a:ext uri="{FF2B5EF4-FFF2-40B4-BE49-F238E27FC236}">
                <a16:creationId xmlns:a16="http://schemas.microsoft.com/office/drawing/2014/main" id="{D1043090-1D44-BC47-A004-2A9EA60C3C9E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5" name="Footer Placeholder 12">
            <a:extLst>
              <a:ext uri="{FF2B5EF4-FFF2-40B4-BE49-F238E27FC236}">
                <a16:creationId xmlns:a16="http://schemas.microsoft.com/office/drawing/2014/main" id="{098BC365-8C1F-0B9A-7DB7-4A60AF443873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600" noProof="1"/>
              <a:t>© Dassault Systèmes | Confidential Information | 2024 </a:t>
            </a:r>
          </a:p>
        </p:txBody>
      </p:sp>
    </p:spTree>
    <p:extLst>
      <p:ext uri="{BB962C8B-B14F-4D97-AF65-F5344CB8AC3E}">
        <p14:creationId xmlns:p14="http://schemas.microsoft.com/office/powerpoint/2010/main" val="80543212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- 2 lin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6789E206-C5AD-47E5-A47D-8FC93D2C16FB}"/>
              </a:ext>
            </a:extLst>
          </p:cNvPr>
          <p:cNvSpPr/>
          <p:nvPr/>
        </p:nvSpPr>
        <p:spPr>
          <a:xfrm>
            <a:off x="382938" y="1584097"/>
            <a:ext cx="4002391" cy="2827401"/>
          </a:xfrm>
          <a:prstGeom prst="roundRect">
            <a:avLst>
              <a:gd name="adj" fmla="val 2351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67" noProof="0">
              <a:solidFill>
                <a:schemeClr val="tx1"/>
              </a:solidFill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E0616FD8-62C6-4466-AE39-D2E22BCFC67A}"/>
              </a:ext>
            </a:extLst>
          </p:cNvPr>
          <p:cNvSpPr/>
          <p:nvPr/>
        </p:nvSpPr>
        <p:spPr>
          <a:xfrm>
            <a:off x="4758670" y="1584097"/>
            <a:ext cx="4002392" cy="2827401"/>
          </a:xfrm>
          <a:prstGeom prst="roundRect">
            <a:avLst>
              <a:gd name="adj" fmla="val 308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67" noProof="0">
              <a:solidFill>
                <a:schemeClr val="tx1"/>
              </a:solidFill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7EE0ABB-0322-46E6-B135-5AB630CEA3A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9216" y="1812788"/>
            <a:ext cx="3519024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 i="0">
                <a:solidFill>
                  <a:schemeClr val="tx1"/>
                </a:solidFill>
                <a:latin typeface="3DS V2 SemiBold" pitchFamily="2" charset="0"/>
              </a:defRPr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6BBE6982-7846-374E-AD3E-7EBD9F520E2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906" y="988138"/>
            <a:ext cx="8378156" cy="2308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kern="900" spc="0" baseline="0">
                <a:solidFill>
                  <a:schemeClr val="tx1"/>
                </a:solidFill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is is the slide subtitle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1E39F0C4-2EDF-D849-95EA-D42B852A321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05759" y="1812788"/>
            <a:ext cx="3519026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 i="0">
                <a:solidFill>
                  <a:schemeClr val="tx1"/>
                </a:solidFill>
                <a:latin typeface="3DS V2 SemiBold" pitchFamily="2" charset="0"/>
              </a:defRPr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4" name="ZoneTexte 7">
            <a:extLst>
              <a:ext uri="{FF2B5EF4-FFF2-40B4-BE49-F238E27FC236}">
                <a16:creationId xmlns:a16="http://schemas.microsoft.com/office/drawing/2014/main" id="{854B2E12-7FEA-9F42-862D-A1D8E039D65C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cxnSp>
        <p:nvCxnSpPr>
          <p:cNvPr id="18" name="Connecteur droit 8">
            <a:extLst>
              <a:ext uri="{FF2B5EF4-FFF2-40B4-BE49-F238E27FC236}">
                <a16:creationId xmlns:a16="http://schemas.microsoft.com/office/drawing/2014/main" id="{7768BC2D-D3F5-4548-8D98-2B4FB2E06D4B}"/>
              </a:ext>
            </a:extLst>
          </p:cNvPr>
          <p:cNvCxnSpPr>
            <a:cxnSpLocks/>
          </p:cNvCxnSpPr>
          <p:nvPr/>
        </p:nvCxnSpPr>
        <p:spPr>
          <a:xfrm>
            <a:off x="177217" y="323850"/>
            <a:ext cx="0" cy="44979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7950DB06-3896-4C8B-B48C-801B202DCE6F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5005759" y="2173869"/>
            <a:ext cx="3519020" cy="1897451"/>
          </a:xfrm>
          <a:custGeom>
            <a:avLst/>
            <a:gdLst>
              <a:gd name="connsiteX0" fmla="*/ 0 w 3440310"/>
              <a:gd name="connsiteY0" fmla="*/ 0 h 1897451"/>
              <a:gd name="connsiteX1" fmla="*/ 3440310 w 3440310"/>
              <a:gd name="connsiteY1" fmla="*/ 0 h 1897451"/>
              <a:gd name="connsiteX2" fmla="*/ 3440310 w 3440310"/>
              <a:gd name="connsiteY2" fmla="*/ 1897451 h 1897451"/>
              <a:gd name="connsiteX3" fmla="*/ 0 w 3440310"/>
              <a:gd name="connsiteY3" fmla="*/ 1897451 h 18974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40310" h="1897451">
                <a:moveTo>
                  <a:pt x="0" y="0"/>
                </a:moveTo>
                <a:lnTo>
                  <a:pt x="3440310" y="0"/>
                </a:lnTo>
                <a:lnTo>
                  <a:pt x="3440310" y="1897451"/>
                </a:lnTo>
                <a:lnTo>
                  <a:pt x="0" y="1897451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>
            <a:lvl1pPr marL="172796" indent="-172796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200"/>
            </a:lvl1pPr>
            <a:lvl2pPr marL="345591" indent="-172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Char char="-"/>
              <a:defRPr sz="1100"/>
            </a:lvl2pPr>
            <a:lvl3pPr marL="518387" indent="-172796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Char char="▪"/>
              <a:defRPr sz="1000"/>
            </a:lvl3pPr>
            <a:lvl4pPr marL="691183" indent="-17279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800"/>
            </a:lvl4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EE27D671-ADEC-46F5-982D-2E50B953D04A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624191" y="2173869"/>
            <a:ext cx="3519019" cy="1897451"/>
          </a:xfrm>
          <a:custGeom>
            <a:avLst/>
            <a:gdLst>
              <a:gd name="connsiteX0" fmla="*/ 0 w 3440310"/>
              <a:gd name="connsiteY0" fmla="*/ 0 h 1897451"/>
              <a:gd name="connsiteX1" fmla="*/ 3440310 w 3440310"/>
              <a:gd name="connsiteY1" fmla="*/ 0 h 1897451"/>
              <a:gd name="connsiteX2" fmla="*/ 3440310 w 3440310"/>
              <a:gd name="connsiteY2" fmla="*/ 1897451 h 1897451"/>
              <a:gd name="connsiteX3" fmla="*/ 0 w 3440310"/>
              <a:gd name="connsiteY3" fmla="*/ 1897451 h 18974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40310" h="1897451">
                <a:moveTo>
                  <a:pt x="0" y="0"/>
                </a:moveTo>
                <a:lnTo>
                  <a:pt x="3440310" y="0"/>
                </a:lnTo>
                <a:lnTo>
                  <a:pt x="3440310" y="1897451"/>
                </a:lnTo>
                <a:lnTo>
                  <a:pt x="0" y="1897451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>
            <a:lvl1pPr marL="172796" indent="-172796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200"/>
            </a:lvl1pPr>
            <a:lvl2pPr marL="345591" indent="-172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Char char="-"/>
              <a:defRPr sz="1100"/>
            </a:lvl2pPr>
            <a:lvl3pPr marL="518387" indent="-172796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Char char="▪"/>
              <a:defRPr sz="1000"/>
            </a:lvl3pPr>
            <a:lvl4pPr marL="691183" indent="-17279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800"/>
            </a:lvl4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7AD7C156-6065-F745-BABD-1130211441E5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3D186E83-A963-10F8-8354-C71008D683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937" y="312223"/>
            <a:ext cx="8378123" cy="64633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lang="en-US" sz="2000" b="0" i="0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SLIDE TITLE</a:t>
            </a:r>
            <a:br>
              <a:rPr lang="en-US" noProof="0" dirty="0"/>
            </a:br>
            <a:r>
              <a:rPr lang="en-US" noProof="0" dirty="0"/>
              <a:t>IN 2 LINES</a:t>
            </a:r>
          </a:p>
        </p:txBody>
      </p:sp>
      <p:sp>
        <p:nvSpPr>
          <p:cNvPr id="7" name="Footer Placeholder 12">
            <a:extLst>
              <a:ext uri="{FF2B5EF4-FFF2-40B4-BE49-F238E27FC236}">
                <a16:creationId xmlns:a16="http://schemas.microsoft.com/office/drawing/2014/main" id="{6C895C33-6553-AEAD-C167-63B78FCDAD46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</p:spTree>
    <p:extLst>
      <p:ext uri="{BB962C8B-B14F-4D97-AF65-F5344CB8AC3E}">
        <p14:creationId xmlns:p14="http://schemas.microsoft.com/office/powerpoint/2010/main" val="322013393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meline - 1 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Content Placeholder 41">
            <a:extLst>
              <a:ext uri="{FF2B5EF4-FFF2-40B4-BE49-F238E27FC236}">
                <a16:creationId xmlns:a16="http://schemas.microsoft.com/office/drawing/2014/main" id="{85B4A79B-F6C5-4A17-9A1F-22CD49BF8AFD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1008523" y="2734357"/>
            <a:ext cx="1606298" cy="1528483"/>
          </a:xfrm>
          <a:custGeom>
            <a:avLst/>
            <a:gdLst>
              <a:gd name="connsiteX0" fmla="*/ 0 w 1606298"/>
              <a:gd name="connsiteY0" fmla="*/ 0 h 1528483"/>
              <a:gd name="connsiteX1" fmla="*/ 1606298 w 1606298"/>
              <a:gd name="connsiteY1" fmla="*/ 0 h 1528483"/>
              <a:gd name="connsiteX2" fmla="*/ 1606298 w 1606298"/>
              <a:gd name="connsiteY2" fmla="*/ 1528483 h 1528483"/>
              <a:gd name="connsiteX3" fmla="*/ 0 w 1606298"/>
              <a:gd name="connsiteY3" fmla="*/ 1528483 h 1528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06298" h="1528483">
                <a:moveTo>
                  <a:pt x="0" y="0"/>
                </a:moveTo>
                <a:lnTo>
                  <a:pt x="1606298" y="0"/>
                </a:lnTo>
                <a:lnTo>
                  <a:pt x="1606298" y="1528483"/>
                </a:lnTo>
                <a:lnTo>
                  <a:pt x="0" y="1528483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>
            <a:lvl1pPr marL="172796" indent="-172796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050"/>
            </a:lvl1pPr>
            <a:lvl2pPr marL="345591" indent="-172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Char char="-"/>
              <a:defRPr sz="900"/>
            </a:lvl2pPr>
            <a:lvl3pPr marL="518387" indent="-172796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Char char="▪"/>
              <a:defRPr sz="825"/>
            </a:lvl3pPr>
            <a:lvl4pPr marL="691183" indent="-17279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750"/>
            </a:lvl4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18" name="Isosceles Triangle 17">
            <a:extLst>
              <a:ext uri="{FF2B5EF4-FFF2-40B4-BE49-F238E27FC236}">
                <a16:creationId xmlns:a16="http://schemas.microsoft.com/office/drawing/2014/main" id="{FBE330D4-B574-4B4F-94C4-EAA259E97A10}"/>
              </a:ext>
            </a:extLst>
          </p:cNvPr>
          <p:cNvSpPr/>
          <p:nvPr/>
        </p:nvSpPr>
        <p:spPr>
          <a:xfrm flipV="1">
            <a:off x="1765527" y="1638160"/>
            <a:ext cx="99060" cy="9906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67" noProof="0">
              <a:solidFill>
                <a:schemeClr val="tx1"/>
              </a:solidFill>
            </a:endParaRPr>
          </a:p>
        </p:txBody>
      </p:sp>
      <p:sp>
        <p:nvSpPr>
          <p:cNvPr id="19" name="Isosceles Triangle 18">
            <a:extLst>
              <a:ext uri="{FF2B5EF4-FFF2-40B4-BE49-F238E27FC236}">
                <a16:creationId xmlns:a16="http://schemas.microsoft.com/office/drawing/2014/main" id="{5B3A4B44-8E1B-44F9-8820-4E4D9FFCAB39}"/>
              </a:ext>
            </a:extLst>
          </p:cNvPr>
          <p:cNvSpPr/>
          <p:nvPr/>
        </p:nvSpPr>
        <p:spPr>
          <a:xfrm flipV="1">
            <a:off x="3603852" y="1638160"/>
            <a:ext cx="99060" cy="9906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67" noProof="0">
              <a:solidFill>
                <a:schemeClr val="tx1"/>
              </a:solidFill>
            </a:endParaRPr>
          </a:p>
        </p:txBody>
      </p:sp>
      <p:sp>
        <p:nvSpPr>
          <p:cNvPr id="20" name="Isosceles Triangle 19">
            <a:extLst>
              <a:ext uri="{FF2B5EF4-FFF2-40B4-BE49-F238E27FC236}">
                <a16:creationId xmlns:a16="http://schemas.microsoft.com/office/drawing/2014/main" id="{D9F16955-3CAA-473B-BFB5-F89D4F9BDA34}"/>
              </a:ext>
            </a:extLst>
          </p:cNvPr>
          <p:cNvSpPr/>
          <p:nvPr/>
        </p:nvSpPr>
        <p:spPr>
          <a:xfrm flipV="1">
            <a:off x="5442176" y="1638160"/>
            <a:ext cx="99060" cy="9906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67" noProof="0">
              <a:solidFill>
                <a:schemeClr val="tx1"/>
              </a:solidFill>
            </a:endParaRPr>
          </a:p>
        </p:txBody>
      </p:sp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CBBBBA5C-9C4B-43A0-B3C6-FEA9D7E28B81}"/>
              </a:ext>
            </a:extLst>
          </p:cNvPr>
          <p:cNvSpPr/>
          <p:nvPr/>
        </p:nvSpPr>
        <p:spPr>
          <a:xfrm flipV="1">
            <a:off x="7279411" y="1638160"/>
            <a:ext cx="99060" cy="9906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67" noProof="0">
              <a:solidFill>
                <a:schemeClr val="tx1"/>
              </a:solidFill>
            </a:endParaRPr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32FF488C-9DE0-4342-B997-AC7618826CD0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601849" y="1851083"/>
            <a:ext cx="417600" cy="4176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3778AB8D-DB97-4C96-A612-CC2F47D8B5B8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125635" y="1852167"/>
            <a:ext cx="417600" cy="4176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D0B46D80-841E-4713-8F88-650446A2E7AD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5284373" y="1851083"/>
            <a:ext cx="417600" cy="4176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9" name="Picture Placeholder 2">
            <a:extLst>
              <a:ext uri="{FF2B5EF4-FFF2-40B4-BE49-F238E27FC236}">
                <a16:creationId xmlns:a16="http://schemas.microsoft.com/office/drawing/2014/main" id="{D55F8C4F-B94C-4128-866D-9230D2226A75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3443111" y="1851083"/>
            <a:ext cx="417600" cy="4176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96451A65-D63C-4713-9E24-8A2E4214C3D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08518" y="2331756"/>
            <a:ext cx="1608130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fr-FR" sz="1200" b="0" i="0" kern="1200" cap="all" baseline="0" dirty="0">
                <a:solidFill>
                  <a:schemeClr val="tx1"/>
                </a:solidFill>
                <a:latin typeface="3DS V2 SemiBold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C0CFFF3C-7F18-4020-8A35-B4834420A2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7622" y="2331756"/>
            <a:ext cx="1608130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fr-FR" sz="1200" b="0" i="0" kern="1200" cap="all" baseline="0" dirty="0">
                <a:solidFill>
                  <a:schemeClr val="tx1"/>
                </a:solidFill>
                <a:latin typeface="3DS V2 SemiBold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153639C1-212A-4C35-84A8-8AF5C32AE94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86735" y="2331756"/>
            <a:ext cx="1608130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fr-FR" sz="1200" b="0" i="0" kern="1200" cap="all" baseline="0" dirty="0">
                <a:solidFill>
                  <a:schemeClr val="tx1"/>
                </a:solidFill>
                <a:latin typeface="3DS V2 SemiBold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E74BC87F-AF3B-43E2-8521-D1B15BA0E5B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47846" y="2331756"/>
            <a:ext cx="1608130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fr-FR" sz="1200" b="1" i="0" kern="1200" cap="all" baseline="0" dirty="0">
                <a:solidFill>
                  <a:schemeClr val="tx1"/>
                </a:solidFill>
                <a:latin typeface="3DS V2 SemiBold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25" name="ZoneTexte 7">
            <a:extLst>
              <a:ext uri="{FF2B5EF4-FFF2-40B4-BE49-F238E27FC236}">
                <a16:creationId xmlns:a16="http://schemas.microsoft.com/office/drawing/2014/main" id="{65D2364B-7E89-C34B-84ED-05AAB2908895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sp>
        <p:nvSpPr>
          <p:cNvPr id="46" name="Text Placeholder 14">
            <a:extLst>
              <a:ext uri="{FF2B5EF4-FFF2-40B4-BE49-F238E27FC236}">
                <a16:creationId xmlns:a16="http://schemas.microsoft.com/office/drawing/2014/main" id="{1A6E627C-849B-4BF5-A892-85FCA5D32AE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904" y="630182"/>
            <a:ext cx="8378385" cy="2308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kern="900" spc="0" baseline="0">
                <a:solidFill>
                  <a:schemeClr val="tx1"/>
                </a:solidFill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is is the slide subtitle</a:t>
            </a:r>
          </a:p>
        </p:txBody>
      </p:sp>
      <p:cxnSp>
        <p:nvCxnSpPr>
          <p:cNvPr id="35" name="Connecteur droit 8">
            <a:extLst>
              <a:ext uri="{FF2B5EF4-FFF2-40B4-BE49-F238E27FC236}">
                <a16:creationId xmlns:a16="http://schemas.microsoft.com/office/drawing/2014/main" id="{2080F982-B713-43FB-8028-3E6C5C5FE63F}"/>
              </a:ext>
            </a:extLst>
          </p:cNvPr>
          <p:cNvCxnSpPr>
            <a:cxnSpLocks/>
          </p:cNvCxnSpPr>
          <p:nvPr/>
        </p:nvCxnSpPr>
        <p:spPr>
          <a:xfrm>
            <a:off x="177217" y="323850"/>
            <a:ext cx="0" cy="44979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Content Placeholder 42">
            <a:extLst>
              <a:ext uri="{FF2B5EF4-FFF2-40B4-BE49-F238E27FC236}">
                <a16:creationId xmlns:a16="http://schemas.microsoft.com/office/drawing/2014/main" id="{51AE5D68-F82C-45C1-BD48-BCADB3116D02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2848831" y="2734357"/>
            <a:ext cx="1606298" cy="1528483"/>
          </a:xfrm>
          <a:custGeom>
            <a:avLst/>
            <a:gdLst>
              <a:gd name="connsiteX0" fmla="*/ 0 w 1606298"/>
              <a:gd name="connsiteY0" fmla="*/ 0 h 1528483"/>
              <a:gd name="connsiteX1" fmla="*/ 1606298 w 1606298"/>
              <a:gd name="connsiteY1" fmla="*/ 0 h 1528483"/>
              <a:gd name="connsiteX2" fmla="*/ 1606298 w 1606298"/>
              <a:gd name="connsiteY2" fmla="*/ 1528483 h 1528483"/>
              <a:gd name="connsiteX3" fmla="*/ 0 w 1606298"/>
              <a:gd name="connsiteY3" fmla="*/ 1528483 h 1528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06298" h="1528483">
                <a:moveTo>
                  <a:pt x="0" y="0"/>
                </a:moveTo>
                <a:lnTo>
                  <a:pt x="1606298" y="0"/>
                </a:lnTo>
                <a:lnTo>
                  <a:pt x="1606298" y="1528483"/>
                </a:lnTo>
                <a:lnTo>
                  <a:pt x="0" y="1528483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>
            <a:lvl1pPr marL="172796" indent="-172796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050"/>
            </a:lvl1pPr>
            <a:lvl2pPr marL="345591" indent="-172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Char char="-"/>
              <a:defRPr sz="900"/>
            </a:lvl2pPr>
            <a:lvl3pPr marL="518387" indent="-172796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Char char="▪"/>
              <a:defRPr sz="825"/>
            </a:lvl3pPr>
            <a:lvl4pPr marL="691183" indent="-17279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750"/>
            </a:lvl4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44" name="Content Placeholder 43">
            <a:extLst>
              <a:ext uri="{FF2B5EF4-FFF2-40B4-BE49-F238E27FC236}">
                <a16:creationId xmlns:a16="http://schemas.microsoft.com/office/drawing/2014/main" id="{A3A6EDBD-FE8E-4140-B8CA-BFCF071A7A48}"/>
              </a:ext>
            </a:extLst>
          </p:cNvPr>
          <p:cNvSpPr>
            <a:spLocks noGrp="1"/>
          </p:cNvSpPr>
          <p:nvPr>
            <p:ph sz="quarter" idx="34" hasCustomPrompt="1"/>
          </p:nvPr>
        </p:nvSpPr>
        <p:spPr>
          <a:xfrm>
            <a:off x="4689141" y="2734357"/>
            <a:ext cx="1606298" cy="1528483"/>
          </a:xfrm>
          <a:custGeom>
            <a:avLst/>
            <a:gdLst>
              <a:gd name="connsiteX0" fmla="*/ 0 w 1606298"/>
              <a:gd name="connsiteY0" fmla="*/ 0 h 1528483"/>
              <a:gd name="connsiteX1" fmla="*/ 1606298 w 1606298"/>
              <a:gd name="connsiteY1" fmla="*/ 0 h 1528483"/>
              <a:gd name="connsiteX2" fmla="*/ 1606298 w 1606298"/>
              <a:gd name="connsiteY2" fmla="*/ 1528483 h 1528483"/>
              <a:gd name="connsiteX3" fmla="*/ 0 w 1606298"/>
              <a:gd name="connsiteY3" fmla="*/ 1528483 h 1528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06298" h="1528483">
                <a:moveTo>
                  <a:pt x="0" y="0"/>
                </a:moveTo>
                <a:lnTo>
                  <a:pt x="1606298" y="0"/>
                </a:lnTo>
                <a:lnTo>
                  <a:pt x="1606298" y="1528483"/>
                </a:lnTo>
                <a:lnTo>
                  <a:pt x="0" y="1528483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>
            <a:lvl1pPr marL="172796" indent="-172796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050"/>
            </a:lvl1pPr>
            <a:lvl2pPr marL="345591" indent="-172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Char char="-"/>
              <a:defRPr sz="900"/>
            </a:lvl2pPr>
            <a:lvl3pPr marL="518387" indent="-172796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Char char="▪"/>
              <a:defRPr sz="825"/>
            </a:lvl3pPr>
            <a:lvl4pPr marL="691183" indent="-17279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750"/>
            </a:lvl4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47" name="Content Placeholder 46">
            <a:extLst>
              <a:ext uri="{FF2B5EF4-FFF2-40B4-BE49-F238E27FC236}">
                <a16:creationId xmlns:a16="http://schemas.microsoft.com/office/drawing/2014/main" id="{ABE530F1-8525-4E60-AEE7-A055781DE6AF}"/>
              </a:ext>
            </a:extLst>
          </p:cNvPr>
          <p:cNvSpPr>
            <a:spLocks noGrp="1"/>
          </p:cNvSpPr>
          <p:nvPr>
            <p:ph sz="quarter" idx="35" hasCustomPrompt="1"/>
          </p:nvPr>
        </p:nvSpPr>
        <p:spPr>
          <a:xfrm>
            <a:off x="6529450" y="2734357"/>
            <a:ext cx="1606298" cy="1528483"/>
          </a:xfrm>
          <a:custGeom>
            <a:avLst/>
            <a:gdLst>
              <a:gd name="connsiteX0" fmla="*/ 0 w 1606298"/>
              <a:gd name="connsiteY0" fmla="*/ 0 h 1528483"/>
              <a:gd name="connsiteX1" fmla="*/ 1606298 w 1606298"/>
              <a:gd name="connsiteY1" fmla="*/ 0 h 1528483"/>
              <a:gd name="connsiteX2" fmla="*/ 1606298 w 1606298"/>
              <a:gd name="connsiteY2" fmla="*/ 1528483 h 1528483"/>
              <a:gd name="connsiteX3" fmla="*/ 0 w 1606298"/>
              <a:gd name="connsiteY3" fmla="*/ 1528483 h 1528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06298" h="1528483">
                <a:moveTo>
                  <a:pt x="0" y="0"/>
                </a:moveTo>
                <a:lnTo>
                  <a:pt x="1606298" y="0"/>
                </a:lnTo>
                <a:lnTo>
                  <a:pt x="1606298" y="1528483"/>
                </a:lnTo>
                <a:lnTo>
                  <a:pt x="0" y="1528483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>
            <a:lvl1pPr marL="172796" indent="-172796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050"/>
            </a:lvl1pPr>
            <a:lvl2pPr marL="345591" indent="-172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Char char="-"/>
              <a:defRPr sz="900"/>
            </a:lvl2pPr>
            <a:lvl3pPr marL="518387" indent="-172796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Char char="▪"/>
              <a:defRPr sz="825"/>
            </a:lvl3pPr>
            <a:lvl4pPr marL="691183" indent="-17279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750"/>
            </a:lvl4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pic>
        <p:nvPicPr>
          <p:cNvPr id="34" name="Image 33">
            <a:extLst>
              <a:ext uri="{FF2B5EF4-FFF2-40B4-BE49-F238E27FC236}">
                <a16:creationId xmlns:a16="http://schemas.microsoft.com/office/drawing/2014/main" id="{0A2DEDFD-72EA-644D-97F7-B6B3AFA4602C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4" name="Titre 1">
            <a:extLst>
              <a:ext uri="{FF2B5EF4-FFF2-40B4-BE49-F238E27FC236}">
                <a16:creationId xmlns:a16="http://schemas.microsoft.com/office/drawing/2014/main" id="{6F8E1293-0349-28DF-7CED-DEFD6075BE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938" y="312223"/>
            <a:ext cx="8378797" cy="32316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100000"/>
              </a:lnSpc>
              <a:defRPr lang="en-US" sz="2000" b="0" i="0" strike="noStrike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SLIDE TITLE</a:t>
            </a:r>
          </a:p>
        </p:txBody>
      </p:sp>
      <p:sp>
        <p:nvSpPr>
          <p:cNvPr id="6" name="Footer Placeholder 12">
            <a:extLst>
              <a:ext uri="{FF2B5EF4-FFF2-40B4-BE49-F238E27FC236}">
                <a16:creationId xmlns:a16="http://schemas.microsoft.com/office/drawing/2014/main" id="{BEE755B5-80F2-B70B-2872-278BAFD74968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CD9AD71-E4C1-4393-B98B-4FC2087EC72F}"/>
              </a:ext>
            </a:extLst>
          </p:cNvPr>
          <p:cNvCxnSpPr>
            <a:cxnSpLocks/>
          </p:cNvCxnSpPr>
          <p:nvPr/>
        </p:nvCxnSpPr>
        <p:spPr>
          <a:xfrm>
            <a:off x="382904" y="1638160"/>
            <a:ext cx="837838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3172812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meline - 2 line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7909D851-A66D-48F5-9919-38BC246B83C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905" y="988138"/>
            <a:ext cx="8199121" cy="2308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kern="900" spc="0" baseline="0">
                <a:solidFill>
                  <a:schemeClr val="tx1"/>
                </a:solidFill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is is the slide subtitle</a:t>
            </a:r>
          </a:p>
        </p:txBody>
      </p:sp>
      <p:sp>
        <p:nvSpPr>
          <p:cNvPr id="18" name="Isosceles Triangle 17">
            <a:extLst>
              <a:ext uri="{FF2B5EF4-FFF2-40B4-BE49-F238E27FC236}">
                <a16:creationId xmlns:a16="http://schemas.microsoft.com/office/drawing/2014/main" id="{FBE330D4-B574-4B4F-94C4-EAA259E97A10}"/>
              </a:ext>
            </a:extLst>
          </p:cNvPr>
          <p:cNvSpPr/>
          <p:nvPr/>
        </p:nvSpPr>
        <p:spPr>
          <a:xfrm flipV="1">
            <a:off x="1765527" y="1638160"/>
            <a:ext cx="99060" cy="9906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67" noProof="0">
              <a:solidFill>
                <a:schemeClr val="tx1"/>
              </a:solidFill>
            </a:endParaRPr>
          </a:p>
        </p:txBody>
      </p:sp>
      <p:sp>
        <p:nvSpPr>
          <p:cNvPr id="19" name="Isosceles Triangle 18">
            <a:extLst>
              <a:ext uri="{FF2B5EF4-FFF2-40B4-BE49-F238E27FC236}">
                <a16:creationId xmlns:a16="http://schemas.microsoft.com/office/drawing/2014/main" id="{5B3A4B44-8E1B-44F9-8820-4E4D9FFCAB39}"/>
              </a:ext>
            </a:extLst>
          </p:cNvPr>
          <p:cNvSpPr/>
          <p:nvPr/>
        </p:nvSpPr>
        <p:spPr>
          <a:xfrm flipV="1">
            <a:off x="3603852" y="1638160"/>
            <a:ext cx="99060" cy="9906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67" noProof="0">
              <a:solidFill>
                <a:schemeClr val="tx1"/>
              </a:solidFill>
            </a:endParaRPr>
          </a:p>
        </p:txBody>
      </p:sp>
      <p:sp>
        <p:nvSpPr>
          <p:cNvPr id="20" name="Isosceles Triangle 19">
            <a:extLst>
              <a:ext uri="{FF2B5EF4-FFF2-40B4-BE49-F238E27FC236}">
                <a16:creationId xmlns:a16="http://schemas.microsoft.com/office/drawing/2014/main" id="{D9F16955-3CAA-473B-BFB5-F89D4F9BDA34}"/>
              </a:ext>
            </a:extLst>
          </p:cNvPr>
          <p:cNvSpPr/>
          <p:nvPr/>
        </p:nvSpPr>
        <p:spPr>
          <a:xfrm flipV="1">
            <a:off x="5442176" y="1638160"/>
            <a:ext cx="99060" cy="9906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67" noProof="0">
              <a:solidFill>
                <a:schemeClr val="tx1"/>
              </a:solidFill>
            </a:endParaRPr>
          </a:p>
        </p:txBody>
      </p:sp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CBBBBA5C-9C4B-43A0-B3C6-FEA9D7E28B81}"/>
              </a:ext>
            </a:extLst>
          </p:cNvPr>
          <p:cNvSpPr/>
          <p:nvPr/>
        </p:nvSpPr>
        <p:spPr>
          <a:xfrm flipV="1">
            <a:off x="7279411" y="1638160"/>
            <a:ext cx="99060" cy="9906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67" noProof="0">
              <a:solidFill>
                <a:schemeClr val="tx1"/>
              </a:solidFill>
            </a:endParaRPr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32FF488C-9DE0-4342-B997-AC7618826CD0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601849" y="1851083"/>
            <a:ext cx="417600" cy="4176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3778AB8D-DB97-4C96-A612-CC2F47D8B5B8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125635" y="1852167"/>
            <a:ext cx="417600" cy="4176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D0B46D80-841E-4713-8F88-650446A2E7AD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5284373" y="1851083"/>
            <a:ext cx="417600" cy="4176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9" name="Picture Placeholder 2">
            <a:extLst>
              <a:ext uri="{FF2B5EF4-FFF2-40B4-BE49-F238E27FC236}">
                <a16:creationId xmlns:a16="http://schemas.microsoft.com/office/drawing/2014/main" id="{D55F8C4F-B94C-4128-866D-9230D2226A75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3443111" y="1851083"/>
            <a:ext cx="417600" cy="4176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96451A65-D63C-4713-9E24-8A2E4214C3D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08518" y="2331756"/>
            <a:ext cx="1608130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fr-FR" sz="1200" b="0" i="0" kern="1200" cap="none" baseline="0" dirty="0">
                <a:solidFill>
                  <a:schemeClr val="tx1"/>
                </a:solidFill>
                <a:latin typeface="3DS V2 SemiBold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C0CFFF3C-7F18-4020-8A35-B4834420A2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7622" y="2331756"/>
            <a:ext cx="1608130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fr-FR" sz="1200" b="0" i="0" kern="1200" cap="none" baseline="0" dirty="0">
                <a:solidFill>
                  <a:schemeClr val="tx1"/>
                </a:solidFill>
                <a:latin typeface="3DS V2 SemiBold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153639C1-212A-4C35-84A8-8AF5C32AE94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86735" y="2331756"/>
            <a:ext cx="1608130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fr-FR" sz="1200" b="0" i="0" kern="1200" cap="none" baseline="0" dirty="0">
                <a:solidFill>
                  <a:schemeClr val="tx1"/>
                </a:solidFill>
                <a:latin typeface="3DS V2 SemiBold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E74BC87F-AF3B-43E2-8521-D1B15BA0E5B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47846" y="2331756"/>
            <a:ext cx="1608130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fr-FR" sz="1200" b="0" i="0" kern="1200" cap="none" baseline="0" dirty="0">
                <a:solidFill>
                  <a:schemeClr val="tx1"/>
                </a:solidFill>
                <a:latin typeface="3DS V2 SemiBold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25" name="ZoneTexte 7">
            <a:extLst>
              <a:ext uri="{FF2B5EF4-FFF2-40B4-BE49-F238E27FC236}">
                <a16:creationId xmlns:a16="http://schemas.microsoft.com/office/drawing/2014/main" id="{65D2364B-7E89-C34B-84ED-05AAB2908895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cxnSp>
        <p:nvCxnSpPr>
          <p:cNvPr id="35" name="Connecteur droit 8">
            <a:extLst>
              <a:ext uri="{FF2B5EF4-FFF2-40B4-BE49-F238E27FC236}">
                <a16:creationId xmlns:a16="http://schemas.microsoft.com/office/drawing/2014/main" id="{4339EFE3-B2C3-485D-97E8-C9722BC5C48A}"/>
              </a:ext>
            </a:extLst>
          </p:cNvPr>
          <p:cNvCxnSpPr>
            <a:cxnSpLocks/>
          </p:cNvCxnSpPr>
          <p:nvPr/>
        </p:nvCxnSpPr>
        <p:spPr>
          <a:xfrm>
            <a:off x="177217" y="323850"/>
            <a:ext cx="0" cy="44979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Content Placeholder 37">
            <a:extLst>
              <a:ext uri="{FF2B5EF4-FFF2-40B4-BE49-F238E27FC236}">
                <a16:creationId xmlns:a16="http://schemas.microsoft.com/office/drawing/2014/main" id="{D3EDE0CE-7253-4F1E-926C-21D27F53C338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1008523" y="2734357"/>
            <a:ext cx="1606298" cy="1528483"/>
          </a:xfrm>
          <a:custGeom>
            <a:avLst/>
            <a:gdLst>
              <a:gd name="connsiteX0" fmla="*/ 0 w 1606298"/>
              <a:gd name="connsiteY0" fmla="*/ 0 h 1528483"/>
              <a:gd name="connsiteX1" fmla="*/ 1606298 w 1606298"/>
              <a:gd name="connsiteY1" fmla="*/ 0 h 1528483"/>
              <a:gd name="connsiteX2" fmla="*/ 1606298 w 1606298"/>
              <a:gd name="connsiteY2" fmla="*/ 1528483 h 1528483"/>
              <a:gd name="connsiteX3" fmla="*/ 0 w 1606298"/>
              <a:gd name="connsiteY3" fmla="*/ 1528483 h 1528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06298" h="1528483">
                <a:moveTo>
                  <a:pt x="0" y="0"/>
                </a:moveTo>
                <a:lnTo>
                  <a:pt x="1606298" y="0"/>
                </a:lnTo>
                <a:lnTo>
                  <a:pt x="1606298" y="1528483"/>
                </a:lnTo>
                <a:lnTo>
                  <a:pt x="0" y="1528483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>
            <a:lvl1pPr marL="172796" indent="-172796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050"/>
            </a:lvl1pPr>
            <a:lvl2pPr marL="345591" indent="-172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Char char="-"/>
              <a:defRPr sz="900"/>
            </a:lvl2pPr>
            <a:lvl3pPr marL="518387" indent="-172796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Char char="▪"/>
              <a:defRPr sz="825"/>
            </a:lvl3pPr>
            <a:lvl4pPr marL="691183" indent="-17279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750"/>
            </a:lvl4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39" name="Content Placeholder 38">
            <a:extLst>
              <a:ext uri="{FF2B5EF4-FFF2-40B4-BE49-F238E27FC236}">
                <a16:creationId xmlns:a16="http://schemas.microsoft.com/office/drawing/2014/main" id="{F007F418-1B99-4975-8932-27F15504A564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2848831" y="2734357"/>
            <a:ext cx="1606298" cy="1528483"/>
          </a:xfrm>
          <a:custGeom>
            <a:avLst/>
            <a:gdLst>
              <a:gd name="connsiteX0" fmla="*/ 0 w 1606298"/>
              <a:gd name="connsiteY0" fmla="*/ 0 h 1528483"/>
              <a:gd name="connsiteX1" fmla="*/ 1606298 w 1606298"/>
              <a:gd name="connsiteY1" fmla="*/ 0 h 1528483"/>
              <a:gd name="connsiteX2" fmla="*/ 1606298 w 1606298"/>
              <a:gd name="connsiteY2" fmla="*/ 1528483 h 1528483"/>
              <a:gd name="connsiteX3" fmla="*/ 0 w 1606298"/>
              <a:gd name="connsiteY3" fmla="*/ 1528483 h 1528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06298" h="1528483">
                <a:moveTo>
                  <a:pt x="0" y="0"/>
                </a:moveTo>
                <a:lnTo>
                  <a:pt x="1606298" y="0"/>
                </a:lnTo>
                <a:lnTo>
                  <a:pt x="1606298" y="1528483"/>
                </a:lnTo>
                <a:lnTo>
                  <a:pt x="0" y="1528483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>
            <a:lvl1pPr marL="172796" indent="-172796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050"/>
            </a:lvl1pPr>
            <a:lvl2pPr marL="345591" indent="-172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Char char="-"/>
              <a:defRPr sz="900"/>
            </a:lvl2pPr>
            <a:lvl3pPr marL="518387" indent="-172796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Char char="▪"/>
              <a:defRPr sz="825"/>
            </a:lvl3pPr>
            <a:lvl4pPr marL="691183" indent="-17279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750"/>
            </a:lvl4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43" name="Content Placeholder 42">
            <a:extLst>
              <a:ext uri="{FF2B5EF4-FFF2-40B4-BE49-F238E27FC236}">
                <a16:creationId xmlns:a16="http://schemas.microsoft.com/office/drawing/2014/main" id="{847BC59C-7F02-4297-A93F-2995FACCC350}"/>
              </a:ext>
            </a:extLst>
          </p:cNvPr>
          <p:cNvSpPr>
            <a:spLocks noGrp="1"/>
          </p:cNvSpPr>
          <p:nvPr>
            <p:ph sz="quarter" idx="34" hasCustomPrompt="1"/>
          </p:nvPr>
        </p:nvSpPr>
        <p:spPr>
          <a:xfrm>
            <a:off x="4689141" y="2734357"/>
            <a:ext cx="1606298" cy="1528483"/>
          </a:xfrm>
          <a:custGeom>
            <a:avLst/>
            <a:gdLst>
              <a:gd name="connsiteX0" fmla="*/ 0 w 1606298"/>
              <a:gd name="connsiteY0" fmla="*/ 0 h 1528483"/>
              <a:gd name="connsiteX1" fmla="*/ 1606298 w 1606298"/>
              <a:gd name="connsiteY1" fmla="*/ 0 h 1528483"/>
              <a:gd name="connsiteX2" fmla="*/ 1606298 w 1606298"/>
              <a:gd name="connsiteY2" fmla="*/ 1528483 h 1528483"/>
              <a:gd name="connsiteX3" fmla="*/ 0 w 1606298"/>
              <a:gd name="connsiteY3" fmla="*/ 1528483 h 1528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06298" h="1528483">
                <a:moveTo>
                  <a:pt x="0" y="0"/>
                </a:moveTo>
                <a:lnTo>
                  <a:pt x="1606298" y="0"/>
                </a:lnTo>
                <a:lnTo>
                  <a:pt x="1606298" y="1528483"/>
                </a:lnTo>
                <a:lnTo>
                  <a:pt x="0" y="1528483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>
            <a:lvl1pPr marL="172796" indent="-172796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050"/>
            </a:lvl1pPr>
            <a:lvl2pPr marL="345591" indent="-172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Char char="-"/>
              <a:defRPr sz="900"/>
            </a:lvl2pPr>
            <a:lvl3pPr marL="518387" indent="-172796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Char char="▪"/>
              <a:defRPr sz="825"/>
            </a:lvl3pPr>
            <a:lvl4pPr marL="691183" indent="-17279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750"/>
            </a:lvl4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44" name="Content Placeholder 43">
            <a:extLst>
              <a:ext uri="{FF2B5EF4-FFF2-40B4-BE49-F238E27FC236}">
                <a16:creationId xmlns:a16="http://schemas.microsoft.com/office/drawing/2014/main" id="{151EC02E-D66A-42D3-AEA8-B98DDF3E1328}"/>
              </a:ext>
            </a:extLst>
          </p:cNvPr>
          <p:cNvSpPr>
            <a:spLocks noGrp="1"/>
          </p:cNvSpPr>
          <p:nvPr>
            <p:ph sz="quarter" idx="35" hasCustomPrompt="1"/>
          </p:nvPr>
        </p:nvSpPr>
        <p:spPr>
          <a:xfrm>
            <a:off x="6529450" y="2734357"/>
            <a:ext cx="1606298" cy="1528483"/>
          </a:xfrm>
          <a:custGeom>
            <a:avLst/>
            <a:gdLst>
              <a:gd name="connsiteX0" fmla="*/ 0 w 1606298"/>
              <a:gd name="connsiteY0" fmla="*/ 0 h 1528483"/>
              <a:gd name="connsiteX1" fmla="*/ 1606298 w 1606298"/>
              <a:gd name="connsiteY1" fmla="*/ 0 h 1528483"/>
              <a:gd name="connsiteX2" fmla="*/ 1606298 w 1606298"/>
              <a:gd name="connsiteY2" fmla="*/ 1528483 h 1528483"/>
              <a:gd name="connsiteX3" fmla="*/ 0 w 1606298"/>
              <a:gd name="connsiteY3" fmla="*/ 1528483 h 1528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06298" h="1528483">
                <a:moveTo>
                  <a:pt x="0" y="0"/>
                </a:moveTo>
                <a:lnTo>
                  <a:pt x="1606298" y="0"/>
                </a:lnTo>
                <a:lnTo>
                  <a:pt x="1606298" y="1528483"/>
                </a:lnTo>
                <a:lnTo>
                  <a:pt x="0" y="1528483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>
            <a:lvl1pPr marL="172796" indent="-172796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050"/>
            </a:lvl1pPr>
            <a:lvl2pPr marL="345591" indent="-172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Char char="-"/>
              <a:defRPr sz="900"/>
            </a:lvl2pPr>
            <a:lvl3pPr marL="518387" indent="-172796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Char char="▪"/>
              <a:defRPr sz="825"/>
            </a:lvl3pPr>
            <a:lvl4pPr marL="691183" indent="-17279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750"/>
            </a:lvl4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pic>
        <p:nvPicPr>
          <p:cNvPr id="37" name="Image 36">
            <a:extLst>
              <a:ext uri="{FF2B5EF4-FFF2-40B4-BE49-F238E27FC236}">
                <a16:creationId xmlns:a16="http://schemas.microsoft.com/office/drawing/2014/main" id="{459FABF0-E657-2B47-A635-8B9BF3B1E9DF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623E0638-32AD-7197-DF47-7307D9274E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938" y="312223"/>
            <a:ext cx="8199088" cy="64633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lang="en-US" sz="2000" b="0" i="0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SLIDE TITLE</a:t>
            </a:r>
            <a:br>
              <a:rPr lang="en-US" noProof="0" dirty="0"/>
            </a:br>
            <a:r>
              <a:rPr lang="en-US" noProof="0" dirty="0"/>
              <a:t>IN 2 LINES</a:t>
            </a:r>
          </a:p>
        </p:txBody>
      </p:sp>
      <p:sp>
        <p:nvSpPr>
          <p:cNvPr id="2" name="Footer Placeholder 12">
            <a:extLst>
              <a:ext uri="{FF2B5EF4-FFF2-40B4-BE49-F238E27FC236}">
                <a16:creationId xmlns:a16="http://schemas.microsoft.com/office/drawing/2014/main" id="{73C37A12-754D-D382-670F-C876976211C5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329B6F7-7500-0E39-00FA-9903AD54B253}"/>
              </a:ext>
            </a:extLst>
          </p:cNvPr>
          <p:cNvCxnSpPr>
            <a:cxnSpLocks/>
          </p:cNvCxnSpPr>
          <p:nvPr/>
        </p:nvCxnSpPr>
        <p:spPr>
          <a:xfrm>
            <a:off x="382904" y="1638160"/>
            <a:ext cx="837838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5797113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numbers - 1 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7">
            <a:extLst>
              <a:ext uri="{FF2B5EF4-FFF2-40B4-BE49-F238E27FC236}">
                <a16:creationId xmlns:a16="http://schemas.microsoft.com/office/drawing/2014/main" id="{B710BA1E-7958-4909-90F4-C085E2FBA176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1008469" y="3017143"/>
            <a:ext cx="1609199" cy="973832"/>
          </a:xfrm>
          <a:custGeom>
            <a:avLst/>
            <a:gdLst>
              <a:gd name="connsiteX0" fmla="*/ 0 w 1609199"/>
              <a:gd name="connsiteY0" fmla="*/ 0 h 973832"/>
              <a:gd name="connsiteX1" fmla="*/ 1609199 w 1609199"/>
              <a:gd name="connsiteY1" fmla="*/ 0 h 973832"/>
              <a:gd name="connsiteX2" fmla="*/ 1609199 w 1609199"/>
              <a:gd name="connsiteY2" fmla="*/ 973832 h 973832"/>
              <a:gd name="connsiteX3" fmla="*/ 0 w 1609199"/>
              <a:gd name="connsiteY3" fmla="*/ 973832 h 97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09199" h="973832">
                <a:moveTo>
                  <a:pt x="0" y="0"/>
                </a:moveTo>
                <a:lnTo>
                  <a:pt x="1609199" y="0"/>
                </a:lnTo>
                <a:lnTo>
                  <a:pt x="1609199" y="973832"/>
                </a:lnTo>
                <a:lnTo>
                  <a:pt x="0" y="973832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None/>
              <a:defRPr sz="1050"/>
            </a:lvl1pPr>
            <a:lvl2pPr marL="172796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None/>
              <a:defRPr sz="900"/>
            </a:lvl2pPr>
            <a:lvl3pPr marL="345591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None/>
              <a:defRPr sz="800"/>
            </a:lvl3pPr>
            <a:lvl4pPr marL="51838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None/>
              <a:defRPr sz="700"/>
            </a:lvl4pPr>
          </a:lstStyle>
          <a:p>
            <a:pPr lvl="0"/>
            <a:r>
              <a:rPr lang="en-US" noProof="0"/>
              <a:t>Insert text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CD02C751-CE04-47EA-A1A7-31A30527F7D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8467" y="2003369"/>
            <a:ext cx="1609200" cy="5078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fr-FR" sz="3200" b="0" i="0" kern="1200" cap="none" baseline="0" dirty="0">
                <a:solidFill>
                  <a:schemeClr val="tx1"/>
                </a:solidFill>
                <a:latin typeface="3DS V2 SemiBold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#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DB429DA6-DBB5-4F41-8058-8B35D30BC5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08469" y="2529181"/>
            <a:ext cx="1609199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fr-FR" sz="1200" b="0" i="0" kern="1200" dirty="0">
                <a:solidFill>
                  <a:schemeClr val="tx1"/>
                </a:solidFill>
                <a:latin typeface="3DS V2 SemiBold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5C1D8542-B4AD-430A-A597-54C6CC35274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26331" y="2003369"/>
            <a:ext cx="1609200" cy="5078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fr-FR" sz="3200" b="0" i="0" kern="1200" cap="none" baseline="0" dirty="0">
                <a:solidFill>
                  <a:schemeClr val="tx1"/>
                </a:solidFill>
                <a:latin typeface="3DS V2 SemiBold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#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2493263F-FDCE-4F77-B97C-089B8D52BEF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26333" y="2529181"/>
            <a:ext cx="1609199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fr-FR" sz="1200" b="0" i="0" kern="1200" dirty="0">
                <a:solidFill>
                  <a:schemeClr val="tx1"/>
                </a:solidFill>
                <a:latin typeface="3DS V2 SemiBold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869AADEE-F997-410C-8BFD-CE19019828B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67400" y="2003369"/>
            <a:ext cx="1609200" cy="5078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fr-FR" sz="3200" b="0" i="0" kern="1200" cap="none" baseline="0" dirty="0">
                <a:solidFill>
                  <a:schemeClr val="tx1"/>
                </a:solidFill>
                <a:latin typeface="3DS V2 SemiBold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#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F66BDDE9-B972-4AB5-8E71-CE9797570F9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67401" y="2529181"/>
            <a:ext cx="1609199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fr-FR" sz="1200" b="0" i="0" kern="1200" dirty="0">
                <a:solidFill>
                  <a:schemeClr val="tx1"/>
                </a:solidFill>
                <a:latin typeface="3DS V2 SemiBold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7" name="ZoneTexte 7">
            <a:extLst>
              <a:ext uri="{FF2B5EF4-FFF2-40B4-BE49-F238E27FC236}">
                <a16:creationId xmlns:a16="http://schemas.microsoft.com/office/drawing/2014/main" id="{F7565AA9-0535-714B-905F-9E644D5DFA04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cxnSp>
        <p:nvCxnSpPr>
          <p:cNvPr id="18" name="Straight Connector 16">
            <a:extLst>
              <a:ext uri="{FF2B5EF4-FFF2-40B4-BE49-F238E27FC236}">
                <a16:creationId xmlns:a16="http://schemas.microsoft.com/office/drawing/2014/main" id="{38DB578A-2FA6-634F-981A-653D1A36E8C3}"/>
              </a:ext>
            </a:extLst>
          </p:cNvPr>
          <p:cNvCxnSpPr>
            <a:cxnSpLocks/>
          </p:cNvCxnSpPr>
          <p:nvPr/>
        </p:nvCxnSpPr>
        <p:spPr>
          <a:xfrm>
            <a:off x="1633067" y="2862070"/>
            <a:ext cx="360000" cy="0"/>
          </a:xfrm>
          <a:prstGeom prst="line">
            <a:avLst/>
          </a:prstGeom>
          <a:ln w="63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16">
            <a:extLst>
              <a:ext uri="{FF2B5EF4-FFF2-40B4-BE49-F238E27FC236}">
                <a16:creationId xmlns:a16="http://schemas.microsoft.com/office/drawing/2014/main" id="{F67BC959-B4EF-FB4D-8F2D-59BD065DB459}"/>
              </a:ext>
            </a:extLst>
          </p:cNvPr>
          <p:cNvCxnSpPr>
            <a:cxnSpLocks/>
          </p:cNvCxnSpPr>
          <p:nvPr/>
        </p:nvCxnSpPr>
        <p:spPr>
          <a:xfrm>
            <a:off x="7150931" y="2862070"/>
            <a:ext cx="360000" cy="0"/>
          </a:xfrm>
          <a:prstGeom prst="line">
            <a:avLst/>
          </a:prstGeom>
          <a:ln w="63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16">
            <a:extLst>
              <a:ext uri="{FF2B5EF4-FFF2-40B4-BE49-F238E27FC236}">
                <a16:creationId xmlns:a16="http://schemas.microsoft.com/office/drawing/2014/main" id="{15748BF8-CDA2-D44A-9255-3C7C85D5EE23}"/>
              </a:ext>
            </a:extLst>
          </p:cNvPr>
          <p:cNvCxnSpPr>
            <a:cxnSpLocks/>
          </p:cNvCxnSpPr>
          <p:nvPr/>
        </p:nvCxnSpPr>
        <p:spPr>
          <a:xfrm>
            <a:off x="4392000" y="2862070"/>
            <a:ext cx="360000" cy="0"/>
          </a:xfrm>
          <a:prstGeom prst="line">
            <a:avLst/>
          </a:prstGeom>
          <a:ln w="63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65AD26B9-E9F3-4F8C-80DA-8B48BB2F02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904" y="630182"/>
            <a:ext cx="8198685" cy="2308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kern="900" spc="0" baseline="0">
                <a:solidFill>
                  <a:schemeClr val="tx1"/>
                </a:solidFill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is is the slide subtitle</a:t>
            </a:r>
          </a:p>
        </p:txBody>
      </p:sp>
      <p:cxnSp>
        <p:nvCxnSpPr>
          <p:cNvPr id="24" name="Connecteur droit 8">
            <a:extLst>
              <a:ext uri="{FF2B5EF4-FFF2-40B4-BE49-F238E27FC236}">
                <a16:creationId xmlns:a16="http://schemas.microsoft.com/office/drawing/2014/main" id="{F9944759-B4F4-4F74-BD60-6C5174FB074C}"/>
              </a:ext>
            </a:extLst>
          </p:cNvPr>
          <p:cNvCxnSpPr>
            <a:cxnSpLocks/>
          </p:cNvCxnSpPr>
          <p:nvPr/>
        </p:nvCxnSpPr>
        <p:spPr>
          <a:xfrm>
            <a:off x="177217" y="323850"/>
            <a:ext cx="0" cy="44979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id="{311AB234-3E00-45E7-8145-2A7C3BCC5D85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3767401" y="3017143"/>
            <a:ext cx="1609199" cy="973832"/>
          </a:xfrm>
          <a:custGeom>
            <a:avLst/>
            <a:gdLst>
              <a:gd name="connsiteX0" fmla="*/ 0 w 1609199"/>
              <a:gd name="connsiteY0" fmla="*/ 0 h 973832"/>
              <a:gd name="connsiteX1" fmla="*/ 1609199 w 1609199"/>
              <a:gd name="connsiteY1" fmla="*/ 0 h 973832"/>
              <a:gd name="connsiteX2" fmla="*/ 1609199 w 1609199"/>
              <a:gd name="connsiteY2" fmla="*/ 973832 h 973832"/>
              <a:gd name="connsiteX3" fmla="*/ 0 w 1609199"/>
              <a:gd name="connsiteY3" fmla="*/ 973832 h 97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09199" h="973832">
                <a:moveTo>
                  <a:pt x="0" y="0"/>
                </a:moveTo>
                <a:lnTo>
                  <a:pt x="1609199" y="0"/>
                </a:lnTo>
                <a:lnTo>
                  <a:pt x="1609199" y="973832"/>
                </a:lnTo>
                <a:lnTo>
                  <a:pt x="0" y="973832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None/>
              <a:defRPr sz="1050"/>
            </a:lvl1pPr>
            <a:lvl2pPr marL="172796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None/>
              <a:defRPr sz="900"/>
            </a:lvl2pPr>
            <a:lvl3pPr marL="345591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None/>
              <a:defRPr sz="800"/>
            </a:lvl3pPr>
            <a:lvl4pPr marL="51838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None/>
              <a:defRPr sz="700"/>
            </a:lvl4pPr>
          </a:lstStyle>
          <a:p>
            <a:pPr lvl="0"/>
            <a:r>
              <a:rPr lang="en-US" noProof="0"/>
              <a:t>Insert text</a:t>
            </a:r>
          </a:p>
        </p:txBody>
      </p:sp>
      <p:sp>
        <p:nvSpPr>
          <p:cNvPr id="30" name="Content Placeholder 29">
            <a:extLst>
              <a:ext uri="{FF2B5EF4-FFF2-40B4-BE49-F238E27FC236}">
                <a16:creationId xmlns:a16="http://schemas.microsoft.com/office/drawing/2014/main" id="{7CF9C069-0AB9-40D8-B304-216441ABF147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6526333" y="3017143"/>
            <a:ext cx="1609199" cy="973832"/>
          </a:xfrm>
          <a:custGeom>
            <a:avLst/>
            <a:gdLst>
              <a:gd name="connsiteX0" fmla="*/ 0 w 1609199"/>
              <a:gd name="connsiteY0" fmla="*/ 0 h 973832"/>
              <a:gd name="connsiteX1" fmla="*/ 1609199 w 1609199"/>
              <a:gd name="connsiteY1" fmla="*/ 0 h 973832"/>
              <a:gd name="connsiteX2" fmla="*/ 1609199 w 1609199"/>
              <a:gd name="connsiteY2" fmla="*/ 973832 h 973832"/>
              <a:gd name="connsiteX3" fmla="*/ 0 w 1609199"/>
              <a:gd name="connsiteY3" fmla="*/ 973832 h 97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09199" h="973832">
                <a:moveTo>
                  <a:pt x="0" y="0"/>
                </a:moveTo>
                <a:lnTo>
                  <a:pt x="1609199" y="0"/>
                </a:lnTo>
                <a:lnTo>
                  <a:pt x="1609199" y="973832"/>
                </a:lnTo>
                <a:lnTo>
                  <a:pt x="0" y="973832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None/>
              <a:defRPr sz="1050"/>
            </a:lvl1pPr>
            <a:lvl2pPr marL="172796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None/>
              <a:defRPr sz="900"/>
            </a:lvl2pPr>
            <a:lvl3pPr marL="345591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None/>
              <a:defRPr sz="800"/>
            </a:lvl3pPr>
            <a:lvl4pPr marL="51838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None/>
              <a:defRPr sz="700"/>
            </a:lvl4pPr>
          </a:lstStyle>
          <a:p>
            <a:pPr lvl="0"/>
            <a:r>
              <a:rPr lang="en-US" noProof="0"/>
              <a:t>Insert text</a:t>
            </a: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CB81F1E1-0E2B-FB44-9904-9ED26E4EE8AD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F807496F-95B9-3EF2-E35D-0D3E995475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938" y="312223"/>
            <a:ext cx="8199088" cy="32316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100000"/>
              </a:lnSpc>
              <a:defRPr lang="en-US" sz="2000" b="0" i="0" strike="noStrike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SLIDE TITLE</a:t>
            </a:r>
          </a:p>
        </p:txBody>
      </p:sp>
      <p:sp>
        <p:nvSpPr>
          <p:cNvPr id="6" name="Footer Placeholder 12">
            <a:extLst>
              <a:ext uri="{FF2B5EF4-FFF2-40B4-BE49-F238E27FC236}">
                <a16:creationId xmlns:a16="http://schemas.microsoft.com/office/drawing/2014/main" id="{8327C538-B8B6-622B-803C-3C443255E21C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  <p:cxnSp>
        <p:nvCxnSpPr>
          <p:cNvPr id="4" name="Straight Connector 16">
            <a:extLst>
              <a:ext uri="{FF2B5EF4-FFF2-40B4-BE49-F238E27FC236}">
                <a16:creationId xmlns:a16="http://schemas.microsoft.com/office/drawing/2014/main" id="{F7D0F075-5D12-3E06-3F6F-407003B0A8A1}"/>
              </a:ext>
            </a:extLst>
          </p:cNvPr>
          <p:cNvCxnSpPr>
            <a:cxnSpLocks/>
          </p:cNvCxnSpPr>
          <p:nvPr userDrawn="1"/>
        </p:nvCxnSpPr>
        <p:spPr>
          <a:xfrm>
            <a:off x="1633067" y="2862070"/>
            <a:ext cx="360000" cy="0"/>
          </a:xfrm>
          <a:prstGeom prst="line">
            <a:avLst/>
          </a:prstGeom>
          <a:ln w="63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16">
            <a:extLst>
              <a:ext uri="{FF2B5EF4-FFF2-40B4-BE49-F238E27FC236}">
                <a16:creationId xmlns:a16="http://schemas.microsoft.com/office/drawing/2014/main" id="{5541C8BA-3FCD-9C63-08CB-2E88BC1EADA3}"/>
              </a:ext>
            </a:extLst>
          </p:cNvPr>
          <p:cNvCxnSpPr>
            <a:cxnSpLocks/>
          </p:cNvCxnSpPr>
          <p:nvPr userDrawn="1"/>
        </p:nvCxnSpPr>
        <p:spPr>
          <a:xfrm>
            <a:off x="7150931" y="2862070"/>
            <a:ext cx="360000" cy="0"/>
          </a:xfrm>
          <a:prstGeom prst="line">
            <a:avLst/>
          </a:prstGeom>
          <a:ln w="63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16">
            <a:extLst>
              <a:ext uri="{FF2B5EF4-FFF2-40B4-BE49-F238E27FC236}">
                <a16:creationId xmlns:a16="http://schemas.microsoft.com/office/drawing/2014/main" id="{98C9350D-3C0C-B308-AF05-BEF8DF366968}"/>
              </a:ext>
            </a:extLst>
          </p:cNvPr>
          <p:cNvCxnSpPr>
            <a:cxnSpLocks/>
          </p:cNvCxnSpPr>
          <p:nvPr userDrawn="1"/>
        </p:nvCxnSpPr>
        <p:spPr>
          <a:xfrm>
            <a:off x="4392000" y="2862070"/>
            <a:ext cx="360000" cy="0"/>
          </a:xfrm>
          <a:prstGeom prst="line">
            <a:avLst/>
          </a:prstGeom>
          <a:ln w="63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363912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numbers - 2 line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7909D851-A66D-48F5-9919-38BC246B83C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905" y="988138"/>
            <a:ext cx="8199121" cy="2308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kern="900" spc="0" baseline="0">
                <a:solidFill>
                  <a:schemeClr val="tx1"/>
                </a:solidFill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is is the slide subtitle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CD02C751-CE04-47EA-A1A7-31A30527F7D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8467" y="2003369"/>
            <a:ext cx="1609200" cy="5078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fr-FR" sz="3200" b="0" i="0" kern="1200" cap="none" baseline="0" dirty="0">
                <a:solidFill>
                  <a:schemeClr val="tx1"/>
                </a:solidFill>
                <a:latin typeface="3DS V2 SemiBold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#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DB429DA6-DBB5-4F41-8058-8B35D30BC5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08469" y="2529181"/>
            <a:ext cx="1609199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fr-FR" sz="1200" b="0" i="0" kern="1200" dirty="0">
                <a:solidFill>
                  <a:schemeClr val="tx1"/>
                </a:solidFill>
                <a:latin typeface="3DS V2 SemiBold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5C1D8542-B4AD-430A-A597-54C6CC35274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26322" y="2003369"/>
            <a:ext cx="1609200" cy="5078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fr-FR" sz="3200" b="0" i="0" kern="1200" cap="none" baseline="0" dirty="0">
                <a:solidFill>
                  <a:schemeClr val="tx1"/>
                </a:solidFill>
                <a:latin typeface="3DS V2 SemiBold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#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2493263F-FDCE-4F77-B97C-089B8D52BEF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26324" y="2529181"/>
            <a:ext cx="1609199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fr-FR" sz="1200" b="0" i="0" kern="1200" dirty="0">
                <a:solidFill>
                  <a:schemeClr val="tx1"/>
                </a:solidFill>
                <a:latin typeface="3DS V2 SemiBold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869AADEE-F997-410C-8BFD-CE19019828B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67400" y="2003369"/>
            <a:ext cx="1609200" cy="5078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fr-FR" sz="3200" b="0" i="0" kern="1200" cap="none" baseline="0" dirty="0">
                <a:solidFill>
                  <a:schemeClr val="tx1"/>
                </a:solidFill>
                <a:latin typeface="3DS V2 SemiBold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#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F66BDDE9-B972-4AB5-8E71-CE9797570F9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67401" y="2529181"/>
            <a:ext cx="1609199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fr-FR" sz="1200" b="0" i="0" kern="1200" dirty="0">
                <a:solidFill>
                  <a:schemeClr val="tx1"/>
                </a:solidFill>
                <a:latin typeface="3DS V2 SemiBold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7" name="ZoneTexte 7">
            <a:extLst>
              <a:ext uri="{FF2B5EF4-FFF2-40B4-BE49-F238E27FC236}">
                <a16:creationId xmlns:a16="http://schemas.microsoft.com/office/drawing/2014/main" id="{F7565AA9-0535-714B-905F-9E644D5DFA04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cxnSp>
        <p:nvCxnSpPr>
          <p:cNvPr id="18" name="Straight Connector 16">
            <a:extLst>
              <a:ext uri="{FF2B5EF4-FFF2-40B4-BE49-F238E27FC236}">
                <a16:creationId xmlns:a16="http://schemas.microsoft.com/office/drawing/2014/main" id="{38DB578A-2FA6-634F-981A-653D1A36E8C3}"/>
              </a:ext>
            </a:extLst>
          </p:cNvPr>
          <p:cNvCxnSpPr>
            <a:cxnSpLocks/>
          </p:cNvCxnSpPr>
          <p:nvPr/>
        </p:nvCxnSpPr>
        <p:spPr>
          <a:xfrm>
            <a:off x="1633067" y="2862070"/>
            <a:ext cx="360000" cy="0"/>
          </a:xfrm>
          <a:prstGeom prst="line">
            <a:avLst/>
          </a:prstGeom>
          <a:ln w="63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16">
            <a:extLst>
              <a:ext uri="{FF2B5EF4-FFF2-40B4-BE49-F238E27FC236}">
                <a16:creationId xmlns:a16="http://schemas.microsoft.com/office/drawing/2014/main" id="{F67BC959-B4EF-FB4D-8F2D-59BD065DB459}"/>
              </a:ext>
            </a:extLst>
          </p:cNvPr>
          <p:cNvCxnSpPr>
            <a:cxnSpLocks/>
          </p:cNvCxnSpPr>
          <p:nvPr/>
        </p:nvCxnSpPr>
        <p:spPr>
          <a:xfrm>
            <a:off x="7150922" y="2862070"/>
            <a:ext cx="360000" cy="0"/>
          </a:xfrm>
          <a:prstGeom prst="line">
            <a:avLst/>
          </a:prstGeom>
          <a:ln w="63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16">
            <a:extLst>
              <a:ext uri="{FF2B5EF4-FFF2-40B4-BE49-F238E27FC236}">
                <a16:creationId xmlns:a16="http://schemas.microsoft.com/office/drawing/2014/main" id="{15748BF8-CDA2-D44A-9255-3C7C85D5EE23}"/>
              </a:ext>
            </a:extLst>
          </p:cNvPr>
          <p:cNvCxnSpPr>
            <a:cxnSpLocks/>
          </p:cNvCxnSpPr>
          <p:nvPr/>
        </p:nvCxnSpPr>
        <p:spPr>
          <a:xfrm>
            <a:off x="4392000" y="2862070"/>
            <a:ext cx="360000" cy="0"/>
          </a:xfrm>
          <a:prstGeom prst="line">
            <a:avLst/>
          </a:prstGeom>
          <a:ln w="63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necteur droit 8">
            <a:extLst>
              <a:ext uri="{FF2B5EF4-FFF2-40B4-BE49-F238E27FC236}">
                <a16:creationId xmlns:a16="http://schemas.microsoft.com/office/drawing/2014/main" id="{03757C0F-2B79-4AE3-BC5A-2C74E98878AA}"/>
              </a:ext>
            </a:extLst>
          </p:cNvPr>
          <p:cNvCxnSpPr>
            <a:cxnSpLocks/>
          </p:cNvCxnSpPr>
          <p:nvPr/>
        </p:nvCxnSpPr>
        <p:spPr>
          <a:xfrm>
            <a:off x="177217" y="323850"/>
            <a:ext cx="0" cy="44979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5">
            <a:extLst>
              <a:ext uri="{FF2B5EF4-FFF2-40B4-BE49-F238E27FC236}">
                <a16:creationId xmlns:a16="http://schemas.microsoft.com/office/drawing/2014/main" id="{D141D94C-17E2-4229-B713-C2621FBB2957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1008469" y="3017143"/>
            <a:ext cx="1609199" cy="973832"/>
          </a:xfrm>
          <a:custGeom>
            <a:avLst/>
            <a:gdLst>
              <a:gd name="connsiteX0" fmla="*/ 0 w 1609199"/>
              <a:gd name="connsiteY0" fmla="*/ 0 h 973832"/>
              <a:gd name="connsiteX1" fmla="*/ 1609199 w 1609199"/>
              <a:gd name="connsiteY1" fmla="*/ 0 h 973832"/>
              <a:gd name="connsiteX2" fmla="*/ 1609199 w 1609199"/>
              <a:gd name="connsiteY2" fmla="*/ 973832 h 973832"/>
              <a:gd name="connsiteX3" fmla="*/ 0 w 1609199"/>
              <a:gd name="connsiteY3" fmla="*/ 973832 h 97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09199" h="973832">
                <a:moveTo>
                  <a:pt x="0" y="0"/>
                </a:moveTo>
                <a:lnTo>
                  <a:pt x="1609199" y="0"/>
                </a:lnTo>
                <a:lnTo>
                  <a:pt x="1609199" y="973832"/>
                </a:lnTo>
                <a:lnTo>
                  <a:pt x="0" y="973832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None/>
              <a:defRPr sz="1050"/>
            </a:lvl1pPr>
            <a:lvl2pPr marL="172796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None/>
              <a:defRPr sz="900"/>
            </a:lvl2pPr>
            <a:lvl3pPr marL="345591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None/>
              <a:defRPr sz="800"/>
            </a:lvl3pPr>
            <a:lvl4pPr marL="51838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None/>
              <a:defRPr sz="700"/>
            </a:lvl4pPr>
          </a:lstStyle>
          <a:p>
            <a:pPr lvl="0"/>
            <a:r>
              <a:rPr lang="en-US" noProof="0"/>
              <a:t>Insert text</a:t>
            </a:r>
          </a:p>
        </p:txBody>
      </p: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id="{8AE44D07-780C-4981-A539-F7197B846665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3767401" y="3017143"/>
            <a:ext cx="1609199" cy="973832"/>
          </a:xfrm>
          <a:custGeom>
            <a:avLst/>
            <a:gdLst>
              <a:gd name="connsiteX0" fmla="*/ 0 w 1609199"/>
              <a:gd name="connsiteY0" fmla="*/ 0 h 973832"/>
              <a:gd name="connsiteX1" fmla="*/ 1609199 w 1609199"/>
              <a:gd name="connsiteY1" fmla="*/ 0 h 973832"/>
              <a:gd name="connsiteX2" fmla="*/ 1609199 w 1609199"/>
              <a:gd name="connsiteY2" fmla="*/ 973832 h 973832"/>
              <a:gd name="connsiteX3" fmla="*/ 0 w 1609199"/>
              <a:gd name="connsiteY3" fmla="*/ 973832 h 97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09199" h="973832">
                <a:moveTo>
                  <a:pt x="0" y="0"/>
                </a:moveTo>
                <a:lnTo>
                  <a:pt x="1609199" y="0"/>
                </a:lnTo>
                <a:lnTo>
                  <a:pt x="1609199" y="973832"/>
                </a:lnTo>
                <a:lnTo>
                  <a:pt x="0" y="973832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None/>
              <a:defRPr sz="1050"/>
            </a:lvl1pPr>
            <a:lvl2pPr marL="172796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None/>
              <a:defRPr sz="900"/>
            </a:lvl2pPr>
            <a:lvl3pPr marL="345591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None/>
              <a:defRPr sz="800"/>
            </a:lvl3pPr>
            <a:lvl4pPr marL="51838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None/>
              <a:defRPr sz="700"/>
            </a:lvl4pPr>
          </a:lstStyle>
          <a:p>
            <a:pPr lvl="0"/>
            <a:r>
              <a:rPr lang="en-US" noProof="0"/>
              <a:t>Insert text</a:t>
            </a:r>
          </a:p>
        </p:txBody>
      </p:sp>
      <p:sp>
        <p:nvSpPr>
          <p:cNvPr id="28" name="Content Placeholder 27">
            <a:extLst>
              <a:ext uri="{FF2B5EF4-FFF2-40B4-BE49-F238E27FC236}">
                <a16:creationId xmlns:a16="http://schemas.microsoft.com/office/drawing/2014/main" id="{E9B09DCE-E65C-48B0-A557-69FAEC52355F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6526324" y="3017143"/>
            <a:ext cx="1609199" cy="973832"/>
          </a:xfrm>
          <a:custGeom>
            <a:avLst/>
            <a:gdLst>
              <a:gd name="connsiteX0" fmla="*/ 0 w 1609199"/>
              <a:gd name="connsiteY0" fmla="*/ 0 h 973832"/>
              <a:gd name="connsiteX1" fmla="*/ 1609199 w 1609199"/>
              <a:gd name="connsiteY1" fmla="*/ 0 h 973832"/>
              <a:gd name="connsiteX2" fmla="*/ 1609199 w 1609199"/>
              <a:gd name="connsiteY2" fmla="*/ 973832 h 973832"/>
              <a:gd name="connsiteX3" fmla="*/ 0 w 1609199"/>
              <a:gd name="connsiteY3" fmla="*/ 973832 h 97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09199" h="973832">
                <a:moveTo>
                  <a:pt x="0" y="0"/>
                </a:moveTo>
                <a:lnTo>
                  <a:pt x="1609199" y="0"/>
                </a:lnTo>
                <a:lnTo>
                  <a:pt x="1609199" y="973832"/>
                </a:lnTo>
                <a:lnTo>
                  <a:pt x="0" y="973832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None/>
              <a:defRPr sz="1050"/>
            </a:lvl1pPr>
            <a:lvl2pPr marL="172796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None/>
              <a:defRPr sz="900"/>
            </a:lvl2pPr>
            <a:lvl3pPr marL="345591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None/>
              <a:defRPr sz="800"/>
            </a:lvl3pPr>
            <a:lvl4pPr marL="51838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None/>
              <a:defRPr sz="700"/>
            </a:lvl4pPr>
          </a:lstStyle>
          <a:p>
            <a:pPr lvl="0"/>
            <a:r>
              <a:rPr lang="en-US" noProof="0"/>
              <a:t>Insert text</a:t>
            </a: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E62C0F43-8F6D-6944-95F4-A1CE0C85FC8C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6D9FFA8D-2E08-7174-BDB7-E790CCE6B9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938" y="312223"/>
            <a:ext cx="8199088" cy="64633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lang="en-US" sz="2000" b="0" i="0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SLIDE TITLE</a:t>
            </a:r>
            <a:br>
              <a:rPr lang="en-US" noProof="0" dirty="0"/>
            </a:br>
            <a:r>
              <a:rPr lang="en-US" noProof="0" dirty="0"/>
              <a:t>IN 2 LINES</a:t>
            </a:r>
          </a:p>
        </p:txBody>
      </p:sp>
      <p:sp>
        <p:nvSpPr>
          <p:cNvPr id="6" name="Footer Placeholder 12">
            <a:extLst>
              <a:ext uri="{FF2B5EF4-FFF2-40B4-BE49-F238E27FC236}">
                <a16:creationId xmlns:a16="http://schemas.microsoft.com/office/drawing/2014/main" id="{82CB145B-269D-C065-F2D3-E46692077C77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  <p:cxnSp>
        <p:nvCxnSpPr>
          <p:cNvPr id="4" name="Straight Connector 16">
            <a:extLst>
              <a:ext uri="{FF2B5EF4-FFF2-40B4-BE49-F238E27FC236}">
                <a16:creationId xmlns:a16="http://schemas.microsoft.com/office/drawing/2014/main" id="{25A01A4B-FCA1-24A2-CB06-F703B6BFF8A3}"/>
              </a:ext>
            </a:extLst>
          </p:cNvPr>
          <p:cNvCxnSpPr>
            <a:cxnSpLocks/>
          </p:cNvCxnSpPr>
          <p:nvPr userDrawn="1"/>
        </p:nvCxnSpPr>
        <p:spPr>
          <a:xfrm>
            <a:off x="1633067" y="2862070"/>
            <a:ext cx="360000" cy="0"/>
          </a:xfrm>
          <a:prstGeom prst="line">
            <a:avLst/>
          </a:prstGeom>
          <a:ln w="63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16">
            <a:extLst>
              <a:ext uri="{FF2B5EF4-FFF2-40B4-BE49-F238E27FC236}">
                <a16:creationId xmlns:a16="http://schemas.microsoft.com/office/drawing/2014/main" id="{33F777F0-3CD6-E76F-4914-519BE72403FC}"/>
              </a:ext>
            </a:extLst>
          </p:cNvPr>
          <p:cNvCxnSpPr>
            <a:cxnSpLocks/>
          </p:cNvCxnSpPr>
          <p:nvPr userDrawn="1"/>
        </p:nvCxnSpPr>
        <p:spPr>
          <a:xfrm>
            <a:off x="7150922" y="2862070"/>
            <a:ext cx="360000" cy="0"/>
          </a:xfrm>
          <a:prstGeom prst="line">
            <a:avLst/>
          </a:prstGeom>
          <a:ln w="63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16">
            <a:extLst>
              <a:ext uri="{FF2B5EF4-FFF2-40B4-BE49-F238E27FC236}">
                <a16:creationId xmlns:a16="http://schemas.microsoft.com/office/drawing/2014/main" id="{8207397E-16BE-5DCF-211B-93274DEED1E2}"/>
              </a:ext>
            </a:extLst>
          </p:cNvPr>
          <p:cNvCxnSpPr>
            <a:cxnSpLocks/>
          </p:cNvCxnSpPr>
          <p:nvPr userDrawn="1"/>
        </p:nvCxnSpPr>
        <p:spPr>
          <a:xfrm>
            <a:off x="4392000" y="2862070"/>
            <a:ext cx="360000" cy="0"/>
          </a:xfrm>
          <a:prstGeom prst="line">
            <a:avLst/>
          </a:prstGeom>
          <a:ln w="63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6108486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c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ZoneTexte 7">
            <a:extLst>
              <a:ext uri="{FF2B5EF4-FFF2-40B4-BE49-F238E27FC236}">
                <a16:creationId xmlns:a16="http://schemas.microsoft.com/office/drawing/2014/main" id="{F7565AA9-0535-714B-905F-9E644D5DFA04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  <a:latin typeface="+mn-lt"/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1978EAC3-BB95-3D43-9AD3-B82AE3B85DFD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5" name="Footer Placeholder 12">
            <a:extLst>
              <a:ext uri="{FF2B5EF4-FFF2-40B4-BE49-F238E27FC236}">
                <a16:creationId xmlns:a16="http://schemas.microsoft.com/office/drawing/2014/main" id="{3855DFB4-A467-2AEA-309E-156E496B5216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  <p:cxnSp>
        <p:nvCxnSpPr>
          <p:cNvPr id="6" name="Connecteur droit 8">
            <a:extLst>
              <a:ext uri="{FF2B5EF4-FFF2-40B4-BE49-F238E27FC236}">
                <a16:creationId xmlns:a16="http://schemas.microsoft.com/office/drawing/2014/main" id="{626030E4-51D1-3DE6-DF0D-18BF8DECC990}"/>
              </a:ext>
            </a:extLst>
          </p:cNvPr>
          <p:cNvCxnSpPr>
            <a:cxnSpLocks/>
          </p:cNvCxnSpPr>
          <p:nvPr/>
        </p:nvCxnSpPr>
        <p:spPr>
          <a:xfrm>
            <a:off x="177217" y="323850"/>
            <a:ext cx="0" cy="44979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phic 1">
            <a:extLst>
              <a:ext uri="{FF2B5EF4-FFF2-40B4-BE49-F238E27FC236}">
                <a16:creationId xmlns:a16="http://schemas.microsoft.com/office/drawing/2014/main" id="{AEF29A3A-E868-66C7-F644-6EFA45B7E25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rcRect t="-1" b="-1"/>
          <a:stretch/>
        </p:blipFill>
        <p:spPr>
          <a:xfrm>
            <a:off x="2430622" y="648894"/>
            <a:ext cx="4261207" cy="32753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952099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ck Cover V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llipse 1">
            <a:extLst>
              <a:ext uri="{FF2B5EF4-FFF2-40B4-BE49-F238E27FC236}">
                <a16:creationId xmlns:a16="http://schemas.microsoft.com/office/drawing/2014/main" id="{5ABB6C23-A795-AA8F-3008-524444FC3BDD}"/>
              </a:ext>
            </a:extLst>
          </p:cNvPr>
          <p:cNvSpPr/>
          <p:nvPr/>
        </p:nvSpPr>
        <p:spPr>
          <a:xfrm rot="20342527">
            <a:off x="1986548" y="444619"/>
            <a:ext cx="3190719" cy="4351609"/>
          </a:xfrm>
          <a:custGeom>
            <a:avLst/>
            <a:gdLst>
              <a:gd name="connsiteX0" fmla="*/ 0 w 6415314"/>
              <a:gd name="connsiteY0" fmla="*/ 3173759 h 6347517"/>
              <a:gd name="connsiteX1" fmla="*/ 3207657 w 6415314"/>
              <a:gd name="connsiteY1" fmla="*/ 0 h 6347517"/>
              <a:gd name="connsiteX2" fmla="*/ 6415314 w 6415314"/>
              <a:gd name="connsiteY2" fmla="*/ 3173759 h 6347517"/>
              <a:gd name="connsiteX3" fmla="*/ 3207657 w 6415314"/>
              <a:gd name="connsiteY3" fmla="*/ 6347518 h 6347517"/>
              <a:gd name="connsiteX4" fmla="*/ 0 w 6415314"/>
              <a:gd name="connsiteY4" fmla="*/ 3173759 h 6347517"/>
              <a:gd name="connsiteX0" fmla="*/ 6415314 w 6506754"/>
              <a:gd name="connsiteY0" fmla="*/ 3173759 h 6347518"/>
              <a:gd name="connsiteX1" fmla="*/ 3207657 w 6506754"/>
              <a:gd name="connsiteY1" fmla="*/ 6347518 h 6347518"/>
              <a:gd name="connsiteX2" fmla="*/ 0 w 6506754"/>
              <a:gd name="connsiteY2" fmla="*/ 3173759 h 6347518"/>
              <a:gd name="connsiteX3" fmla="*/ 3207657 w 6506754"/>
              <a:gd name="connsiteY3" fmla="*/ 0 h 6347518"/>
              <a:gd name="connsiteX4" fmla="*/ 6506754 w 6506754"/>
              <a:gd name="connsiteY4" fmla="*/ 3265199 h 6347518"/>
              <a:gd name="connsiteX0" fmla="*/ 6415314 w 6415314"/>
              <a:gd name="connsiteY0" fmla="*/ 3173759 h 6347518"/>
              <a:gd name="connsiteX1" fmla="*/ 3207657 w 6415314"/>
              <a:gd name="connsiteY1" fmla="*/ 6347518 h 6347518"/>
              <a:gd name="connsiteX2" fmla="*/ 0 w 6415314"/>
              <a:gd name="connsiteY2" fmla="*/ 3173759 h 6347518"/>
              <a:gd name="connsiteX3" fmla="*/ 3207657 w 6415314"/>
              <a:gd name="connsiteY3" fmla="*/ 0 h 6347518"/>
              <a:gd name="connsiteX0" fmla="*/ 3207657 w 3207657"/>
              <a:gd name="connsiteY0" fmla="*/ 6347518 h 6347518"/>
              <a:gd name="connsiteX1" fmla="*/ 0 w 3207657"/>
              <a:gd name="connsiteY1" fmla="*/ 3173759 h 6347518"/>
              <a:gd name="connsiteX2" fmla="*/ 3207657 w 3207657"/>
              <a:gd name="connsiteY2" fmla="*/ 0 h 6347518"/>
              <a:gd name="connsiteX0" fmla="*/ 0 w 3207657"/>
              <a:gd name="connsiteY0" fmla="*/ 3173759 h 3173759"/>
              <a:gd name="connsiteX1" fmla="*/ 3207657 w 3207657"/>
              <a:gd name="connsiteY1" fmla="*/ 0 h 3173759"/>
              <a:gd name="connsiteX0" fmla="*/ 0 w 2988369"/>
              <a:gd name="connsiteY0" fmla="*/ 4351609 h 4351609"/>
              <a:gd name="connsiteX1" fmla="*/ 2988369 w 2988369"/>
              <a:gd name="connsiteY1" fmla="*/ 0 h 4351609"/>
              <a:gd name="connsiteX0" fmla="*/ 202350 w 3190719"/>
              <a:gd name="connsiteY0" fmla="*/ 4351609 h 4351609"/>
              <a:gd name="connsiteX1" fmla="*/ 3190719 w 3190719"/>
              <a:gd name="connsiteY1" fmla="*/ 0 h 4351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190719" h="4351609">
                <a:moveTo>
                  <a:pt x="202350" y="4351609"/>
                </a:moveTo>
                <a:cubicBezTo>
                  <a:pt x="-662993" y="1702776"/>
                  <a:pt x="1419179" y="0"/>
                  <a:pt x="3190719" y="0"/>
                </a:cubicBezTo>
              </a:path>
            </a:pathLst>
          </a:cu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67"/>
          </a:p>
        </p:txBody>
      </p:sp>
      <p:sp>
        <p:nvSpPr>
          <p:cNvPr id="5" name="Ellipse 4">
            <a:extLst>
              <a:ext uri="{FF2B5EF4-FFF2-40B4-BE49-F238E27FC236}">
                <a16:creationId xmlns:a16="http://schemas.microsoft.com/office/drawing/2014/main" id="{5E244A77-601E-D016-15FF-21FDED8B9188}"/>
              </a:ext>
            </a:extLst>
          </p:cNvPr>
          <p:cNvSpPr/>
          <p:nvPr/>
        </p:nvSpPr>
        <p:spPr>
          <a:xfrm rot="19152204">
            <a:off x="1746975" y="558220"/>
            <a:ext cx="3196464" cy="4133486"/>
          </a:xfrm>
          <a:custGeom>
            <a:avLst/>
            <a:gdLst>
              <a:gd name="connsiteX0" fmla="*/ 0 w 6415314"/>
              <a:gd name="connsiteY0" fmla="*/ 3173400 h 6346800"/>
              <a:gd name="connsiteX1" fmla="*/ 3207657 w 6415314"/>
              <a:gd name="connsiteY1" fmla="*/ 0 h 6346800"/>
              <a:gd name="connsiteX2" fmla="*/ 6415314 w 6415314"/>
              <a:gd name="connsiteY2" fmla="*/ 3173400 h 6346800"/>
              <a:gd name="connsiteX3" fmla="*/ 3207657 w 6415314"/>
              <a:gd name="connsiteY3" fmla="*/ 6346800 h 6346800"/>
              <a:gd name="connsiteX4" fmla="*/ 0 w 6415314"/>
              <a:gd name="connsiteY4" fmla="*/ 3173400 h 6346800"/>
              <a:gd name="connsiteX0" fmla="*/ 6415314 w 6506754"/>
              <a:gd name="connsiteY0" fmla="*/ 3173400 h 6346800"/>
              <a:gd name="connsiteX1" fmla="*/ 3207657 w 6506754"/>
              <a:gd name="connsiteY1" fmla="*/ 6346800 h 6346800"/>
              <a:gd name="connsiteX2" fmla="*/ 0 w 6506754"/>
              <a:gd name="connsiteY2" fmla="*/ 3173400 h 6346800"/>
              <a:gd name="connsiteX3" fmla="*/ 3207657 w 6506754"/>
              <a:gd name="connsiteY3" fmla="*/ 0 h 6346800"/>
              <a:gd name="connsiteX4" fmla="*/ 6506754 w 6506754"/>
              <a:gd name="connsiteY4" fmla="*/ 3264840 h 6346800"/>
              <a:gd name="connsiteX0" fmla="*/ 6415314 w 6415314"/>
              <a:gd name="connsiteY0" fmla="*/ 3173400 h 6346800"/>
              <a:gd name="connsiteX1" fmla="*/ 3207657 w 6415314"/>
              <a:gd name="connsiteY1" fmla="*/ 6346800 h 6346800"/>
              <a:gd name="connsiteX2" fmla="*/ 0 w 6415314"/>
              <a:gd name="connsiteY2" fmla="*/ 3173400 h 6346800"/>
              <a:gd name="connsiteX3" fmla="*/ 3207657 w 6415314"/>
              <a:gd name="connsiteY3" fmla="*/ 0 h 6346800"/>
              <a:gd name="connsiteX0" fmla="*/ 3207657 w 3207657"/>
              <a:gd name="connsiteY0" fmla="*/ 6346800 h 6346800"/>
              <a:gd name="connsiteX1" fmla="*/ 0 w 3207657"/>
              <a:gd name="connsiteY1" fmla="*/ 3173400 h 6346800"/>
              <a:gd name="connsiteX2" fmla="*/ 3207657 w 3207657"/>
              <a:gd name="connsiteY2" fmla="*/ 0 h 6346800"/>
              <a:gd name="connsiteX0" fmla="*/ 0 w 3207657"/>
              <a:gd name="connsiteY0" fmla="*/ 3173400 h 3173400"/>
              <a:gd name="connsiteX1" fmla="*/ 3207657 w 3207657"/>
              <a:gd name="connsiteY1" fmla="*/ 0 h 3173400"/>
              <a:gd name="connsiteX0" fmla="*/ 0 w 3078688"/>
              <a:gd name="connsiteY0" fmla="*/ 4133486 h 4133486"/>
              <a:gd name="connsiteX1" fmla="*/ 3078688 w 3078688"/>
              <a:gd name="connsiteY1" fmla="*/ 0 h 4133486"/>
              <a:gd name="connsiteX0" fmla="*/ 117776 w 3196464"/>
              <a:gd name="connsiteY0" fmla="*/ 4133486 h 4133486"/>
              <a:gd name="connsiteX1" fmla="*/ 3196464 w 3196464"/>
              <a:gd name="connsiteY1" fmla="*/ 0 h 41334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196464" h="4133486">
                <a:moveTo>
                  <a:pt x="117776" y="4133486"/>
                </a:moveTo>
                <a:cubicBezTo>
                  <a:pt x="-499438" y="1532594"/>
                  <a:pt x="1424924" y="0"/>
                  <a:pt x="3196464" y="0"/>
                </a:cubicBezTo>
              </a:path>
            </a:pathLst>
          </a:cu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67" dirty="0"/>
          </a:p>
        </p:txBody>
      </p:sp>
      <p:sp>
        <p:nvSpPr>
          <p:cNvPr id="17" name="ZoneTexte 7">
            <a:extLst>
              <a:ext uri="{FF2B5EF4-FFF2-40B4-BE49-F238E27FC236}">
                <a16:creationId xmlns:a16="http://schemas.microsoft.com/office/drawing/2014/main" id="{F7565AA9-0535-714B-905F-9E644D5DFA04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  <a:latin typeface="+mn-lt"/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A660427B-CF53-DD08-94C3-34CA10934AFE}"/>
              </a:ext>
            </a:extLst>
          </p:cNvPr>
          <p:cNvSpPr txBox="1"/>
          <p:nvPr/>
        </p:nvSpPr>
        <p:spPr>
          <a:xfrm>
            <a:off x="3295446" y="1433587"/>
            <a:ext cx="3802740" cy="108491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fr-FR" sz="3200" b="1" cap="all" baseline="0" dirty="0">
                <a:solidFill>
                  <a:schemeClr val="bg1"/>
                </a:solidFill>
              </a:rPr>
              <a:t>Discover more</a:t>
            </a:r>
          </a:p>
          <a:p>
            <a:pPr algn="ctr"/>
            <a:r>
              <a:rPr lang="fr-FR" sz="3200" b="1" cap="all" baseline="0" dirty="0">
                <a:solidFill>
                  <a:schemeClr val="bg1"/>
                </a:solidFill>
              </a:rPr>
              <a:t>on 3DS.com</a:t>
            </a:r>
          </a:p>
        </p:txBody>
      </p:sp>
      <p:pic>
        <p:nvPicPr>
          <p:cNvPr id="12" name="Image 11">
            <a:hlinkClick r:id="rId2"/>
            <a:extLst>
              <a:ext uri="{FF2B5EF4-FFF2-40B4-BE49-F238E27FC236}">
                <a16:creationId xmlns:a16="http://schemas.microsoft.com/office/drawing/2014/main" id="{38CEF3E3-81D7-AF4F-B39A-AD63ADF062DA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rcRect l="33" r="33"/>
          <a:stretch/>
        </p:blipFill>
        <p:spPr>
          <a:xfrm>
            <a:off x="3469617" y="2833230"/>
            <a:ext cx="490436" cy="490764"/>
          </a:xfrm>
          <a:prstGeom prst="rect">
            <a:avLst/>
          </a:prstGeom>
        </p:spPr>
      </p:pic>
      <p:pic>
        <p:nvPicPr>
          <p:cNvPr id="11" name="Image 10">
            <a:hlinkClick r:id="rId5"/>
            <a:extLst>
              <a:ext uri="{FF2B5EF4-FFF2-40B4-BE49-F238E27FC236}">
                <a16:creationId xmlns:a16="http://schemas.microsoft.com/office/drawing/2014/main" id="{0A9A2C5C-1739-9A06-B16D-E474811BB0B8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rcRect l="33" r="33"/>
          <a:stretch/>
        </p:blipFill>
        <p:spPr>
          <a:xfrm>
            <a:off x="4075407" y="2833230"/>
            <a:ext cx="490436" cy="490764"/>
          </a:xfrm>
          <a:prstGeom prst="rect">
            <a:avLst/>
          </a:prstGeom>
        </p:spPr>
      </p:pic>
      <p:pic>
        <p:nvPicPr>
          <p:cNvPr id="13" name="Image 12">
            <a:hlinkClick r:id="rId8"/>
            <a:extLst>
              <a:ext uri="{FF2B5EF4-FFF2-40B4-BE49-F238E27FC236}">
                <a16:creationId xmlns:a16="http://schemas.microsoft.com/office/drawing/2014/main" id="{DC4A1ED6-B966-2ED7-D3D7-E68E1ECBE1B1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0"/>
              </a:ext>
            </a:extLst>
          </a:blip>
          <a:srcRect l="33" r="33"/>
          <a:stretch/>
        </p:blipFill>
        <p:spPr>
          <a:xfrm>
            <a:off x="5286987" y="2833230"/>
            <a:ext cx="490436" cy="490764"/>
          </a:xfrm>
          <a:prstGeom prst="rect">
            <a:avLst/>
          </a:prstGeom>
        </p:spPr>
      </p:pic>
      <p:pic>
        <p:nvPicPr>
          <p:cNvPr id="14" name="Image 13">
            <a:hlinkClick r:id="rId11"/>
            <a:extLst>
              <a:ext uri="{FF2B5EF4-FFF2-40B4-BE49-F238E27FC236}">
                <a16:creationId xmlns:a16="http://schemas.microsoft.com/office/drawing/2014/main" id="{6D57FA42-1273-40C5-7EC4-2AACE25F471C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3"/>
              </a:ext>
            </a:extLst>
          </a:blip>
          <a:srcRect l="33" r="33"/>
          <a:stretch/>
        </p:blipFill>
        <p:spPr>
          <a:xfrm>
            <a:off x="5892777" y="2833230"/>
            <a:ext cx="490436" cy="490764"/>
          </a:xfrm>
          <a:prstGeom prst="rect">
            <a:avLst/>
          </a:prstGeom>
        </p:spPr>
      </p:pic>
      <p:pic>
        <p:nvPicPr>
          <p:cNvPr id="15" name="Image 14">
            <a:hlinkClick r:id="rId14"/>
            <a:extLst>
              <a:ext uri="{FF2B5EF4-FFF2-40B4-BE49-F238E27FC236}">
                <a16:creationId xmlns:a16="http://schemas.microsoft.com/office/drawing/2014/main" id="{6591FDE6-6C2A-7A23-4F42-C77DC958BEC2}"/>
              </a:ext>
            </a:extLst>
          </p:cNvPr>
          <p:cNvPicPr>
            <a:picLocks noChangeAspect="1"/>
          </p:cNvPicPr>
          <p:nvPr/>
        </p:nvPicPr>
        <p:blipFill>
          <a:blip r:embed="rId1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6"/>
              </a:ext>
            </a:extLst>
          </a:blip>
          <a:srcRect l="33" r="33"/>
          <a:stretch/>
        </p:blipFill>
        <p:spPr>
          <a:xfrm>
            <a:off x="6498566" y="2833230"/>
            <a:ext cx="490436" cy="490764"/>
          </a:xfrm>
          <a:prstGeom prst="rect">
            <a:avLst/>
          </a:prstGeom>
        </p:spPr>
      </p:pic>
      <p:sp>
        <p:nvSpPr>
          <p:cNvPr id="7" name="Footer Placeholder 12">
            <a:extLst>
              <a:ext uri="{FF2B5EF4-FFF2-40B4-BE49-F238E27FC236}">
                <a16:creationId xmlns:a16="http://schemas.microsoft.com/office/drawing/2014/main" id="{831A17DB-79A4-882A-F14F-670B784EB6DC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>
                <a:solidFill>
                  <a:schemeClr val="bg1"/>
                </a:solidFill>
              </a:rPr>
              <a:t>© Dassault Systèmes | Confidential Information | 2024 </a:t>
            </a:r>
          </a:p>
        </p:txBody>
      </p:sp>
      <p:cxnSp>
        <p:nvCxnSpPr>
          <p:cNvPr id="19" name="Connecteur droit 8">
            <a:extLst>
              <a:ext uri="{FF2B5EF4-FFF2-40B4-BE49-F238E27FC236}">
                <a16:creationId xmlns:a16="http://schemas.microsoft.com/office/drawing/2014/main" id="{DDF687BF-4022-CCA4-2A37-72AF9FFCFF22}"/>
              </a:ext>
            </a:extLst>
          </p:cNvPr>
          <p:cNvCxnSpPr>
            <a:cxnSpLocks/>
          </p:cNvCxnSpPr>
          <p:nvPr/>
        </p:nvCxnSpPr>
        <p:spPr>
          <a:xfrm>
            <a:off x="177217" y="323850"/>
            <a:ext cx="0" cy="4497900"/>
          </a:xfrm>
          <a:prstGeom prst="line">
            <a:avLst/>
          </a:prstGeom>
          <a:ln w="2540">
            <a:gradFill>
              <a:gsLst>
                <a:gs pos="0">
                  <a:schemeClr val="accent1"/>
                </a:gs>
                <a:gs pos="57000">
                  <a:schemeClr val="bg1">
                    <a:alpha val="13000"/>
                  </a:schemeClr>
                </a:gs>
                <a:gs pos="100000">
                  <a:schemeClr val="tx1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Graphic 53">
            <a:extLst>
              <a:ext uri="{FF2B5EF4-FFF2-40B4-BE49-F238E27FC236}">
                <a16:creationId xmlns:a16="http://schemas.microsoft.com/office/drawing/2014/main" id="{64700986-C375-3A00-DC02-7770AF5C4A58}"/>
              </a:ext>
            </a:extLst>
          </p:cNvPr>
          <p:cNvPicPr>
            <a:picLocks noChangeAspect="1"/>
          </p:cNvPicPr>
          <p:nvPr/>
        </p:nvPicPr>
        <p:blipFill>
          <a:blip r:embed="rId1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7901468" y="4691064"/>
            <a:ext cx="908368" cy="277597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B0E420C5-0BCC-42AB-2BA9-8083E10C311D}"/>
              </a:ext>
            </a:extLst>
          </p:cNvPr>
          <p:cNvSpPr txBox="1"/>
          <p:nvPr userDrawn="1"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  <a:latin typeface="+mn-lt"/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3" name="Image 9">
            <a:extLst>
              <a:ext uri="{FF2B5EF4-FFF2-40B4-BE49-F238E27FC236}">
                <a16:creationId xmlns:a16="http://schemas.microsoft.com/office/drawing/2014/main" id="{B8EF9013-3DB0-6391-18CC-82E2F03086E2}"/>
              </a:ext>
            </a:extLst>
          </p:cNvPr>
          <p:cNvGrpSpPr/>
          <p:nvPr userDrawn="1"/>
        </p:nvGrpSpPr>
        <p:grpSpPr>
          <a:xfrm>
            <a:off x="4681198" y="2833230"/>
            <a:ext cx="491083" cy="490764"/>
            <a:chOff x="4681198" y="2833230"/>
            <a:chExt cx="491083" cy="490764"/>
          </a:xfrm>
        </p:grpSpPr>
        <p:sp>
          <p:nvSpPr>
            <p:cNvPr id="6" name="Freeform 5">
              <a:hlinkClick r:id="rId19"/>
              <a:extLst>
                <a:ext uri="{FF2B5EF4-FFF2-40B4-BE49-F238E27FC236}">
                  <a16:creationId xmlns:a16="http://schemas.microsoft.com/office/drawing/2014/main" id="{99A3589A-8801-32C6-B3C5-0A31A52C1B8A}"/>
                </a:ext>
              </a:extLst>
            </p:cNvPr>
            <p:cNvSpPr/>
            <p:nvPr/>
          </p:nvSpPr>
          <p:spPr>
            <a:xfrm>
              <a:off x="4681198" y="2833230"/>
              <a:ext cx="490759" cy="490764"/>
            </a:xfrm>
            <a:custGeom>
              <a:avLst/>
              <a:gdLst>
                <a:gd name="connsiteX0" fmla="*/ 245380 w 490759"/>
                <a:gd name="connsiteY0" fmla="*/ 0 h 490764"/>
                <a:gd name="connsiteX1" fmla="*/ 0 w 490759"/>
                <a:gd name="connsiteY1" fmla="*/ 245382 h 490764"/>
                <a:gd name="connsiteX2" fmla="*/ 245380 w 490759"/>
                <a:gd name="connsiteY2" fmla="*/ 490764 h 490764"/>
                <a:gd name="connsiteX3" fmla="*/ 490760 w 490759"/>
                <a:gd name="connsiteY3" fmla="*/ 245382 h 490764"/>
                <a:gd name="connsiteX4" fmla="*/ 245380 w 490759"/>
                <a:gd name="connsiteY4" fmla="*/ 0 h 490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0759" h="490764">
                  <a:moveTo>
                    <a:pt x="245380" y="0"/>
                  </a:moveTo>
                  <a:cubicBezTo>
                    <a:pt x="109865" y="0"/>
                    <a:pt x="0" y="109866"/>
                    <a:pt x="0" y="245382"/>
                  </a:cubicBezTo>
                  <a:cubicBezTo>
                    <a:pt x="0" y="380898"/>
                    <a:pt x="109865" y="490764"/>
                    <a:pt x="245380" y="490764"/>
                  </a:cubicBezTo>
                  <a:cubicBezTo>
                    <a:pt x="380895" y="490764"/>
                    <a:pt x="490760" y="380898"/>
                    <a:pt x="490760" y="245382"/>
                  </a:cubicBezTo>
                  <a:cubicBezTo>
                    <a:pt x="490760" y="109866"/>
                    <a:pt x="380895" y="0"/>
                    <a:pt x="245380" y="0"/>
                  </a:cubicBezTo>
                  <a:close/>
                </a:path>
              </a:pathLst>
            </a:custGeom>
            <a:solidFill>
              <a:schemeClr val="bg1"/>
            </a:solidFill>
            <a:ln w="3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FR" dirty="0"/>
            </a:p>
          </p:txBody>
        </p:sp>
        <p:sp>
          <p:nvSpPr>
            <p:cNvPr id="9" name="Freeform 8">
              <a:hlinkClick r:id="rId19"/>
              <a:extLst>
                <a:ext uri="{FF2B5EF4-FFF2-40B4-BE49-F238E27FC236}">
                  <a16:creationId xmlns:a16="http://schemas.microsoft.com/office/drawing/2014/main" id="{F16BB6CE-8749-00A2-A6AF-2E0DB99758EE}"/>
                </a:ext>
              </a:extLst>
            </p:cNvPr>
            <p:cNvSpPr/>
            <p:nvPr/>
          </p:nvSpPr>
          <p:spPr>
            <a:xfrm>
              <a:off x="4785493" y="2934299"/>
              <a:ext cx="282170" cy="288373"/>
            </a:xfrm>
            <a:custGeom>
              <a:avLst/>
              <a:gdLst>
                <a:gd name="connsiteX0" fmla="*/ 167929 w 282170"/>
                <a:gd name="connsiteY0" fmla="*/ 122106 h 288373"/>
                <a:gd name="connsiteX1" fmla="*/ 272974 w 282170"/>
                <a:gd name="connsiteY1" fmla="*/ 0 h 288373"/>
                <a:gd name="connsiteX2" fmla="*/ 248082 w 282170"/>
                <a:gd name="connsiteY2" fmla="*/ 0 h 288373"/>
                <a:gd name="connsiteX3" fmla="*/ 156872 w 282170"/>
                <a:gd name="connsiteY3" fmla="*/ 106023 h 288373"/>
                <a:gd name="connsiteX4" fmla="*/ 84023 w 282170"/>
                <a:gd name="connsiteY4" fmla="*/ 0 h 288373"/>
                <a:gd name="connsiteX5" fmla="*/ 0 w 282170"/>
                <a:gd name="connsiteY5" fmla="*/ 0 h 288373"/>
                <a:gd name="connsiteX6" fmla="*/ 110162 w 282170"/>
                <a:gd name="connsiteY6" fmla="*/ 160326 h 288373"/>
                <a:gd name="connsiteX7" fmla="*/ 0 w 282170"/>
                <a:gd name="connsiteY7" fmla="*/ 288373 h 288373"/>
                <a:gd name="connsiteX8" fmla="*/ 24894 w 282170"/>
                <a:gd name="connsiteY8" fmla="*/ 288373 h 288373"/>
                <a:gd name="connsiteX9" fmla="*/ 121214 w 282170"/>
                <a:gd name="connsiteY9" fmla="*/ 176409 h 288373"/>
                <a:gd name="connsiteX10" fmla="*/ 198147 w 282170"/>
                <a:gd name="connsiteY10" fmla="*/ 288373 h 288373"/>
                <a:gd name="connsiteX11" fmla="*/ 282170 w 282170"/>
                <a:gd name="connsiteY11" fmla="*/ 288373 h 288373"/>
                <a:gd name="connsiteX12" fmla="*/ 167923 w 282170"/>
                <a:gd name="connsiteY12" fmla="*/ 122106 h 288373"/>
                <a:gd name="connsiteX13" fmla="*/ 33863 w 282170"/>
                <a:gd name="connsiteY13" fmla="*/ 18740 h 288373"/>
                <a:gd name="connsiteX14" fmla="*/ 72098 w 282170"/>
                <a:gd name="connsiteY14" fmla="*/ 18740 h 288373"/>
                <a:gd name="connsiteX15" fmla="*/ 248093 w 282170"/>
                <a:gd name="connsiteY15" fmla="*/ 270486 h 288373"/>
                <a:gd name="connsiteX16" fmla="*/ 209858 w 282170"/>
                <a:gd name="connsiteY16" fmla="*/ 270486 h 288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82170" h="288373">
                  <a:moveTo>
                    <a:pt x="167929" y="122106"/>
                  </a:moveTo>
                  <a:lnTo>
                    <a:pt x="272974" y="0"/>
                  </a:lnTo>
                  <a:lnTo>
                    <a:pt x="248082" y="0"/>
                  </a:lnTo>
                  <a:lnTo>
                    <a:pt x="156872" y="106023"/>
                  </a:lnTo>
                  <a:lnTo>
                    <a:pt x="84023" y="0"/>
                  </a:lnTo>
                  <a:lnTo>
                    <a:pt x="0" y="0"/>
                  </a:lnTo>
                  <a:lnTo>
                    <a:pt x="110162" y="160326"/>
                  </a:lnTo>
                  <a:lnTo>
                    <a:pt x="0" y="288373"/>
                  </a:lnTo>
                  <a:lnTo>
                    <a:pt x="24894" y="288373"/>
                  </a:lnTo>
                  <a:lnTo>
                    <a:pt x="121214" y="176409"/>
                  </a:lnTo>
                  <a:lnTo>
                    <a:pt x="198147" y="288373"/>
                  </a:lnTo>
                  <a:lnTo>
                    <a:pt x="282170" y="288373"/>
                  </a:lnTo>
                  <a:lnTo>
                    <a:pt x="167923" y="122106"/>
                  </a:lnTo>
                  <a:close/>
                  <a:moveTo>
                    <a:pt x="33863" y="18740"/>
                  </a:moveTo>
                  <a:lnTo>
                    <a:pt x="72098" y="18740"/>
                  </a:lnTo>
                  <a:lnTo>
                    <a:pt x="248093" y="270486"/>
                  </a:lnTo>
                  <a:lnTo>
                    <a:pt x="209858" y="270486"/>
                  </a:lnTo>
                  <a:close/>
                </a:path>
              </a:pathLst>
            </a:custGeom>
            <a:solidFill>
              <a:schemeClr val="tx1"/>
            </a:solidFill>
            <a:ln w="3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FR"/>
            </a:p>
          </p:txBody>
        </p:sp>
      </p:grpSp>
    </p:spTree>
    <p:extLst>
      <p:ext uri="{BB962C8B-B14F-4D97-AF65-F5344CB8AC3E}">
        <p14:creationId xmlns:p14="http://schemas.microsoft.com/office/powerpoint/2010/main" val="127254523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663423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re 1">
            <a:extLst>
              <a:ext uri="{FF2B5EF4-FFF2-40B4-BE49-F238E27FC236}">
                <a16:creationId xmlns:a16="http://schemas.microsoft.com/office/drawing/2014/main" id="{623D1550-682D-42A1-A7EF-27F8C12FAF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1243" y="2202420"/>
            <a:ext cx="4743647" cy="73866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r">
              <a:lnSpc>
                <a:spcPct val="100000"/>
              </a:lnSpc>
              <a:defRPr lang="en-US" sz="2400" b="0" i="0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</a:t>
            </a:r>
            <a:br>
              <a:rPr lang="en-US" noProof="0" dirty="0"/>
            </a:br>
            <a:r>
              <a:rPr lang="en-US" noProof="0" dirty="0"/>
              <a:t>SECTION NAME</a:t>
            </a:r>
          </a:p>
        </p:txBody>
      </p:sp>
      <p:sp>
        <p:nvSpPr>
          <p:cNvPr id="14" name="ZoneTexte 7">
            <a:extLst>
              <a:ext uri="{FF2B5EF4-FFF2-40B4-BE49-F238E27FC236}">
                <a16:creationId xmlns:a16="http://schemas.microsoft.com/office/drawing/2014/main" id="{263DB818-8085-450E-9B5E-297B7E97DBF6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cxnSp>
        <p:nvCxnSpPr>
          <p:cNvPr id="12" name="Connecteur droit 8">
            <a:extLst>
              <a:ext uri="{FF2B5EF4-FFF2-40B4-BE49-F238E27FC236}">
                <a16:creationId xmlns:a16="http://schemas.microsoft.com/office/drawing/2014/main" id="{B9759164-0E59-46FC-9689-8C6079BE7B4F}"/>
              </a:ext>
            </a:extLst>
          </p:cNvPr>
          <p:cNvCxnSpPr>
            <a:cxnSpLocks/>
          </p:cNvCxnSpPr>
          <p:nvPr/>
        </p:nvCxnSpPr>
        <p:spPr>
          <a:xfrm>
            <a:off x="177217" y="321750"/>
            <a:ext cx="0" cy="45000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rme libre 10">
            <a:extLst>
              <a:ext uri="{FF2B5EF4-FFF2-40B4-BE49-F238E27FC236}">
                <a16:creationId xmlns:a16="http://schemas.microsoft.com/office/drawing/2014/main" id="{146686BD-DAAC-CD45-B46A-68B96D6B5B1F}"/>
              </a:ext>
            </a:extLst>
          </p:cNvPr>
          <p:cNvSpPr/>
          <p:nvPr/>
        </p:nvSpPr>
        <p:spPr>
          <a:xfrm>
            <a:off x="5426316" y="2"/>
            <a:ext cx="3717682" cy="5143499"/>
          </a:xfrm>
          <a:custGeom>
            <a:avLst/>
            <a:gdLst>
              <a:gd name="connsiteX0" fmla="*/ 893329 w 3717682"/>
              <a:gd name="connsiteY0" fmla="*/ 0 h 5143499"/>
              <a:gd name="connsiteX1" fmla="*/ 3717682 w 3717682"/>
              <a:gd name="connsiteY1" fmla="*/ 0 h 5143499"/>
              <a:gd name="connsiteX2" fmla="*/ 3717682 w 3717682"/>
              <a:gd name="connsiteY2" fmla="*/ 5143499 h 5143499"/>
              <a:gd name="connsiteX3" fmla="*/ 3662785 w 3717682"/>
              <a:gd name="connsiteY3" fmla="*/ 5143499 h 5143499"/>
              <a:gd name="connsiteX4" fmla="*/ 1977372 w 3717682"/>
              <a:gd name="connsiteY4" fmla="*/ 5143499 h 5143499"/>
              <a:gd name="connsiteX5" fmla="*/ 1175798 w 3717682"/>
              <a:gd name="connsiteY5" fmla="*/ 5143499 h 5143499"/>
              <a:gd name="connsiteX6" fmla="*/ 1096714 w 3717682"/>
              <a:gd name="connsiteY6" fmla="*/ 5071623 h 5143499"/>
              <a:gd name="connsiteX7" fmla="*/ 0 w 3717682"/>
              <a:gd name="connsiteY7" fmla="*/ 2423921 h 5143499"/>
              <a:gd name="connsiteX8" fmla="*/ 855043 w 3717682"/>
              <a:gd name="connsiteY8" fmla="*/ 42126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17682" h="5143499">
                <a:moveTo>
                  <a:pt x="893329" y="0"/>
                </a:moveTo>
                <a:lnTo>
                  <a:pt x="3717682" y="0"/>
                </a:lnTo>
                <a:lnTo>
                  <a:pt x="3717682" y="5143499"/>
                </a:lnTo>
                <a:lnTo>
                  <a:pt x="3662785" y="5143499"/>
                </a:lnTo>
                <a:lnTo>
                  <a:pt x="1977372" y="5143499"/>
                </a:lnTo>
                <a:lnTo>
                  <a:pt x="1175798" y="5143499"/>
                </a:lnTo>
                <a:lnTo>
                  <a:pt x="1096714" y="5071623"/>
                </a:lnTo>
                <a:cubicBezTo>
                  <a:pt x="419108" y="4394017"/>
                  <a:pt x="0" y="3457913"/>
                  <a:pt x="0" y="2423921"/>
                </a:cubicBezTo>
                <a:cubicBezTo>
                  <a:pt x="0" y="1519180"/>
                  <a:pt x="320880" y="689382"/>
                  <a:pt x="855043" y="42126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 sz="2267">
              <a:solidFill>
                <a:schemeClr val="tx1"/>
              </a:solidFill>
            </a:endParaRP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8FCC70B6-8E97-424B-9124-9708D82D824C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5" name="Footer Placeholder 12">
            <a:extLst>
              <a:ext uri="{FF2B5EF4-FFF2-40B4-BE49-F238E27FC236}">
                <a16:creationId xmlns:a16="http://schemas.microsoft.com/office/drawing/2014/main" id="{27975A79-9549-DA07-FEB0-B7940A60E557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</p:spTree>
    <p:extLst>
      <p:ext uri="{BB962C8B-B14F-4D97-AF65-F5344CB8AC3E}">
        <p14:creationId xmlns:p14="http://schemas.microsoft.com/office/powerpoint/2010/main" val="35560605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re 1">
            <a:extLst>
              <a:ext uri="{FF2B5EF4-FFF2-40B4-BE49-F238E27FC236}">
                <a16:creationId xmlns:a16="http://schemas.microsoft.com/office/drawing/2014/main" id="{623D1550-682D-42A1-A7EF-27F8C12FAF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1243" y="2202420"/>
            <a:ext cx="4743647" cy="73866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r">
              <a:lnSpc>
                <a:spcPct val="100000"/>
              </a:lnSpc>
              <a:defRPr lang="en-US" sz="2400" b="0" i="0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</a:t>
            </a:r>
            <a:br>
              <a:rPr lang="en-US" noProof="0" dirty="0"/>
            </a:br>
            <a:r>
              <a:rPr lang="en-US" noProof="0" dirty="0"/>
              <a:t>SECTION NAME</a:t>
            </a:r>
          </a:p>
        </p:txBody>
      </p:sp>
      <p:sp>
        <p:nvSpPr>
          <p:cNvPr id="14" name="ZoneTexte 7">
            <a:extLst>
              <a:ext uri="{FF2B5EF4-FFF2-40B4-BE49-F238E27FC236}">
                <a16:creationId xmlns:a16="http://schemas.microsoft.com/office/drawing/2014/main" id="{263DB818-8085-450E-9B5E-297B7E97DBF6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cxnSp>
        <p:nvCxnSpPr>
          <p:cNvPr id="12" name="Connecteur droit 8">
            <a:extLst>
              <a:ext uri="{FF2B5EF4-FFF2-40B4-BE49-F238E27FC236}">
                <a16:creationId xmlns:a16="http://schemas.microsoft.com/office/drawing/2014/main" id="{B9759164-0E59-46FC-9689-8C6079BE7B4F}"/>
              </a:ext>
            </a:extLst>
          </p:cNvPr>
          <p:cNvCxnSpPr>
            <a:cxnSpLocks/>
          </p:cNvCxnSpPr>
          <p:nvPr/>
        </p:nvCxnSpPr>
        <p:spPr>
          <a:xfrm>
            <a:off x="177217" y="321750"/>
            <a:ext cx="0" cy="45000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18" name="Graphic 1317">
            <a:extLst>
              <a:ext uri="{FF2B5EF4-FFF2-40B4-BE49-F238E27FC236}">
                <a16:creationId xmlns:a16="http://schemas.microsoft.com/office/drawing/2014/main" id="{04AD5205-FFB3-4FDC-B385-CCDEB4B1B959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01468" y="4691064"/>
            <a:ext cx="908368" cy="277597"/>
          </a:xfrm>
          <a:prstGeom prst="rect">
            <a:avLst/>
          </a:prstGeom>
        </p:spPr>
      </p:pic>
      <p:sp>
        <p:nvSpPr>
          <p:cNvPr id="1320" name="Picture Placeholder 47">
            <a:extLst>
              <a:ext uri="{FF2B5EF4-FFF2-40B4-BE49-F238E27FC236}">
                <a16:creationId xmlns:a16="http://schemas.microsoft.com/office/drawing/2014/main" id="{D274539E-F7F6-44F7-B1C3-C0BEBA37CF9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426318" y="2"/>
            <a:ext cx="3717682" cy="5143499"/>
          </a:xfrm>
          <a:custGeom>
            <a:avLst/>
            <a:gdLst>
              <a:gd name="connsiteX0" fmla="*/ 3243187 w 3717682"/>
              <a:gd name="connsiteY0" fmla="*/ 4869228 h 5143499"/>
              <a:gd name="connsiteX1" fmla="*/ 3238365 w 3717682"/>
              <a:gd name="connsiteY1" fmla="*/ 4873182 h 5143499"/>
              <a:gd name="connsiteX2" fmla="*/ 3238374 w 3717682"/>
              <a:gd name="connsiteY2" fmla="*/ 4873182 h 5143499"/>
              <a:gd name="connsiteX3" fmla="*/ 3227066 w 3717682"/>
              <a:gd name="connsiteY3" fmla="*/ 4930787 h 5143499"/>
              <a:gd name="connsiteX4" fmla="*/ 3284505 w 3717682"/>
              <a:gd name="connsiteY4" fmla="*/ 4930787 h 5143499"/>
              <a:gd name="connsiteX5" fmla="*/ 3285694 w 3717682"/>
              <a:gd name="connsiteY5" fmla="*/ 4924630 h 5143499"/>
              <a:gd name="connsiteX6" fmla="*/ 3282706 w 3717682"/>
              <a:gd name="connsiteY6" fmla="*/ 4921282 h 5143499"/>
              <a:gd name="connsiteX7" fmla="*/ 3244546 w 3717682"/>
              <a:gd name="connsiteY7" fmla="*/ 4921282 h 5143499"/>
              <a:gd name="connsiteX8" fmla="*/ 3247789 w 3717682"/>
              <a:gd name="connsiteY8" fmla="*/ 4904760 h 5143499"/>
              <a:gd name="connsiteX9" fmla="*/ 3281509 w 3717682"/>
              <a:gd name="connsiteY9" fmla="*/ 4904760 h 5143499"/>
              <a:gd name="connsiteX10" fmla="*/ 3283334 w 3717682"/>
              <a:gd name="connsiteY10" fmla="*/ 4903297 h 5143499"/>
              <a:gd name="connsiteX11" fmla="*/ 3284624 w 3717682"/>
              <a:gd name="connsiteY11" fmla="*/ 4896744 h 5143499"/>
              <a:gd name="connsiteX12" fmla="*/ 3283376 w 3717682"/>
              <a:gd name="connsiteY12" fmla="*/ 4895280 h 5143499"/>
              <a:gd name="connsiteX13" fmla="*/ 3249639 w 3717682"/>
              <a:gd name="connsiteY13" fmla="*/ 4895280 h 5143499"/>
              <a:gd name="connsiteX14" fmla="*/ 3252865 w 3717682"/>
              <a:gd name="connsiteY14" fmla="*/ 4878792 h 5143499"/>
              <a:gd name="connsiteX15" fmla="*/ 3289684 w 3717682"/>
              <a:gd name="connsiteY15" fmla="*/ 4878792 h 5143499"/>
              <a:gd name="connsiteX16" fmla="*/ 3293589 w 3717682"/>
              <a:gd name="connsiteY16" fmla="*/ 4876488 h 5143499"/>
              <a:gd name="connsiteX17" fmla="*/ 3295015 w 3717682"/>
              <a:gd name="connsiteY17" fmla="*/ 4869228 h 5143499"/>
              <a:gd name="connsiteX18" fmla="*/ 3143539 w 3717682"/>
              <a:gd name="connsiteY18" fmla="*/ 4869228 h 5143499"/>
              <a:gd name="connsiteX19" fmla="*/ 3139481 w 3717682"/>
              <a:gd name="connsiteY19" fmla="*/ 4873182 h 5143499"/>
              <a:gd name="connsiteX20" fmla="*/ 3128173 w 3717682"/>
              <a:gd name="connsiteY20" fmla="*/ 4930787 h 5143499"/>
              <a:gd name="connsiteX21" fmla="*/ 3140126 w 3717682"/>
              <a:gd name="connsiteY21" fmla="*/ 4930787 h 5143499"/>
              <a:gd name="connsiteX22" fmla="*/ 3144481 w 3717682"/>
              <a:gd name="connsiteY22" fmla="*/ 4927246 h 5143499"/>
              <a:gd name="connsiteX23" fmla="*/ 3152945 w 3717682"/>
              <a:gd name="connsiteY23" fmla="*/ 4884134 h 5143499"/>
              <a:gd name="connsiteX24" fmla="*/ 3166681 w 3717682"/>
              <a:gd name="connsiteY24" fmla="*/ 4903549 h 5143499"/>
              <a:gd name="connsiteX25" fmla="*/ 3169958 w 3717682"/>
              <a:gd name="connsiteY25" fmla="*/ 4905425 h 5143499"/>
              <a:gd name="connsiteX26" fmla="*/ 3176138 w 3717682"/>
              <a:gd name="connsiteY26" fmla="*/ 4905425 h 5143499"/>
              <a:gd name="connsiteX27" fmla="*/ 3180162 w 3717682"/>
              <a:gd name="connsiteY27" fmla="*/ 4903549 h 5143499"/>
              <a:gd name="connsiteX28" fmla="*/ 3201504 w 3717682"/>
              <a:gd name="connsiteY28" fmla="*/ 4884134 h 5143499"/>
              <a:gd name="connsiteX29" fmla="*/ 3193040 w 3717682"/>
              <a:gd name="connsiteY29" fmla="*/ 4927246 h 5143499"/>
              <a:gd name="connsiteX30" fmla="*/ 3196012 w 3717682"/>
              <a:gd name="connsiteY30" fmla="*/ 4930787 h 5143499"/>
              <a:gd name="connsiteX31" fmla="*/ 3207956 w 3717682"/>
              <a:gd name="connsiteY31" fmla="*/ 4930787 h 5143499"/>
              <a:gd name="connsiteX32" fmla="*/ 3219273 w 3717682"/>
              <a:gd name="connsiteY32" fmla="*/ 4873190 h 5143499"/>
              <a:gd name="connsiteX33" fmla="*/ 3216768 w 3717682"/>
              <a:gd name="connsiteY33" fmla="*/ 4869228 h 5143499"/>
              <a:gd name="connsiteX34" fmla="*/ 3202693 w 3717682"/>
              <a:gd name="connsiteY34" fmla="*/ 4869228 h 5143499"/>
              <a:gd name="connsiteX35" fmla="*/ 3175442 w 3717682"/>
              <a:gd name="connsiteY35" fmla="*/ 4893227 h 5143499"/>
              <a:gd name="connsiteX36" fmla="*/ 3157614 w 3717682"/>
              <a:gd name="connsiteY36" fmla="*/ 4869228 h 5143499"/>
              <a:gd name="connsiteX37" fmla="*/ 3072703 w 3717682"/>
              <a:gd name="connsiteY37" fmla="*/ 4869228 h 5143499"/>
              <a:gd name="connsiteX38" fmla="*/ 3067872 w 3717682"/>
              <a:gd name="connsiteY38" fmla="*/ 4873182 h 5143499"/>
              <a:gd name="connsiteX39" fmla="*/ 3056581 w 3717682"/>
              <a:gd name="connsiteY39" fmla="*/ 4930787 h 5143499"/>
              <a:gd name="connsiteX40" fmla="*/ 3113995 w 3717682"/>
              <a:gd name="connsiteY40" fmla="*/ 4930787 h 5143499"/>
              <a:gd name="connsiteX41" fmla="*/ 3115209 w 3717682"/>
              <a:gd name="connsiteY41" fmla="*/ 4924630 h 5143499"/>
              <a:gd name="connsiteX42" fmla="*/ 3112196 w 3717682"/>
              <a:gd name="connsiteY42" fmla="*/ 4921282 h 5143499"/>
              <a:gd name="connsiteX43" fmla="*/ 3074053 w 3717682"/>
              <a:gd name="connsiteY43" fmla="*/ 4921282 h 5143499"/>
              <a:gd name="connsiteX44" fmla="*/ 3077287 w 3717682"/>
              <a:gd name="connsiteY44" fmla="*/ 4904760 h 5143499"/>
              <a:gd name="connsiteX45" fmla="*/ 3111007 w 3717682"/>
              <a:gd name="connsiteY45" fmla="*/ 4904760 h 5143499"/>
              <a:gd name="connsiteX46" fmla="*/ 3112841 w 3717682"/>
              <a:gd name="connsiteY46" fmla="*/ 4903297 h 5143499"/>
              <a:gd name="connsiteX47" fmla="*/ 3114131 w 3717682"/>
              <a:gd name="connsiteY47" fmla="*/ 4896744 h 5143499"/>
              <a:gd name="connsiteX48" fmla="*/ 3112875 w 3717682"/>
              <a:gd name="connsiteY48" fmla="*/ 4895280 h 5143499"/>
              <a:gd name="connsiteX49" fmla="*/ 3079146 w 3717682"/>
              <a:gd name="connsiteY49" fmla="*/ 4895280 h 5143499"/>
              <a:gd name="connsiteX50" fmla="*/ 3082389 w 3717682"/>
              <a:gd name="connsiteY50" fmla="*/ 4878792 h 5143499"/>
              <a:gd name="connsiteX51" fmla="*/ 3119199 w 3717682"/>
              <a:gd name="connsiteY51" fmla="*/ 4878792 h 5143499"/>
              <a:gd name="connsiteX52" fmla="*/ 3123122 w 3717682"/>
              <a:gd name="connsiteY52" fmla="*/ 4876488 h 5143499"/>
              <a:gd name="connsiteX53" fmla="*/ 3124531 w 3717682"/>
              <a:gd name="connsiteY53" fmla="*/ 4869228 h 5143499"/>
              <a:gd name="connsiteX54" fmla="*/ 2999626 w 3717682"/>
              <a:gd name="connsiteY54" fmla="*/ 4869228 h 5143499"/>
              <a:gd name="connsiteX55" fmla="*/ 2994346 w 3717682"/>
              <a:gd name="connsiteY55" fmla="*/ 4872559 h 5143499"/>
              <a:gd name="connsiteX56" fmla="*/ 2993115 w 3717682"/>
              <a:gd name="connsiteY56" fmla="*/ 4878767 h 5143499"/>
              <a:gd name="connsiteX57" fmla="*/ 3017581 w 3717682"/>
              <a:gd name="connsiteY57" fmla="*/ 4878767 h 5143499"/>
              <a:gd name="connsiteX58" fmla="*/ 3007394 w 3717682"/>
              <a:gd name="connsiteY58" fmla="*/ 4930787 h 5143499"/>
              <a:gd name="connsiteX59" fmla="*/ 3018362 w 3717682"/>
              <a:gd name="connsiteY59" fmla="*/ 4930787 h 5143499"/>
              <a:gd name="connsiteX60" fmla="*/ 3023863 w 3717682"/>
              <a:gd name="connsiteY60" fmla="*/ 4926413 h 5143499"/>
              <a:gd name="connsiteX61" fmla="*/ 3033202 w 3717682"/>
              <a:gd name="connsiteY61" fmla="*/ 4878767 h 5143499"/>
              <a:gd name="connsiteX62" fmla="*/ 3053627 w 3717682"/>
              <a:gd name="connsiteY62" fmla="*/ 4878767 h 5143499"/>
              <a:gd name="connsiteX63" fmla="*/ 3058025 w 3717682"/>
              <a:gd name="connsiteY63" fmla="*/ 4874999 h 5143499"/>
              <a:gd name="connsiteX64" fmla="*/ 3058025 w 3717682"/>
              <a:gd name="connsiteY64" fmla="*/ 4875007 h 5143499"/>
              <a:gd name="connsiteX65" fmla="*/ 3059162 w 3717682"/>
              <a:gd name="connsiteY65" fmla="*/ 4869228 h 5143499"/>
              <a:gd name="connsiteX66" fmla="*/ 2848319 w 3717682"/>
              <a:gd name="connsiteY66" fmla="*/ 4869228 h 5143499"/>
              <a:gd name="connsiteX67" fmla="*/ 2845407 w 3717682"/>
              <a:gd name="connsiteY67" fmla="*/ 4871306 h 5143499"/>
              <a:gd name="connsiteX68" fmla="*/ 2842096 w 3717682"/>
              <a:gd name="connsiteY68" fmla="*/ 4888214 h 5143499"/>
              <a:gd name="connsiteX69" fmla="*/ 2886403 w 3717682"/>
              <a:gd name="connsiteY69" fmla="*/ 4909925 h 5143499"/>
              <a:gd name="connsiteX70" fmla="*/ 2882302 w 3717682"/>
              <a:gd name="connsiteY70" fmla="*/ 4930787 h 5143499"/>
              <a:gd name="connsiteX71" fmla="*/ 2893279 w 3717682"/>
              <a:gd name="connsiteY71" fmla="*/ 4930787 h 5143499"/>
              <a:gd name="connsiteX72" fmla="*/ 2898780 w 3717682"/>
              <a:gd name="connsiteY72" fmla="*/ 4926413 h 5143499"/>
              <a:gd name="connsiteX73" fmla="*/ 2909986 w 3717682"/>
              <a:gd name="connsiteY73" fmla="*/ 4869228 h 5143499"/>
              <a:gd name="connsiteX74" fmla="*/ 2896692 w 3717682"/>
              <a:gd name="connsiteY74" fmla="*/ 4869228 h 5143499"/>
              <a:gd name="connsiteX75" fmla="*/ 2893984 w 3717682"/>
              <a:gd name="connsiteY75" fmla="*/ 4871306 h 5143499"/>
              <a:gd name="connsiteX76" fmla="*/ 2888465 w 3717682"/>
              <a:gd name="connsiteY76" fmla="*/ 4899335 h 5143499"/>
              <a:gd name="connsiteX77" fmla="*/ 2857785 w 3717682"/>
              <a:gd name="connsiteY77" fmla="*/ 4887802 h 5143499"/>
              <a:gd name="connsiteX78" fmla="*/ 2861435 w 3717682"/>
              <a:gd name="connsiteY78" fmla="*/ 4869228 h 5143499"/>
              <a:gd name="connsiteX79" fmla="*/ 3334041 w 3717682"/>
              <a:gd name="connsiteY79" fmla="*/ 4869051 h 5143499"/>
              <a:gd name="connsiteX80" fmla="*/ 3305279 w 3717682"/>
              <a:gd name="connsiteY80" fmla="*/ 4880811 h 5143499"/>
              <a:gd name="connsiteX81" fmla="*/ 3324143 w 3717682"/>
              <a:gd name="connsiteY81" fmla="*/ 4902212 h 5143499"/>
              <a:gd name="connsiteX82" fmla="*/ 3341410 w 3717682"/>
              <a:gd name="connsiteY82" fmla="*/ 4917185 h 5143499"/>
              <a:gd name="connsiteX83" fmla="*/ 3329482 w 3717682"/>
              <a:gd name="connsiteY83" fmla="*/ 4921315 h 5143499"/>
              <a:gd name="connsiteX84" fmla="*/ 3302410 w 3717682"/>
              <a:gd name="connsiteY84" fmla="*/ 4921315 h 5143499"/>
              <a:gd name="connsiteX85" fmla="*/ 3297010 w 3717682"/>
              <a:gd name="connsiteY85" fmla="*/ 4925294 h 5143499"/>
              <a:gd name="connsiteX86" fmla="*/ 3295941 w 3717682"/>
              <a:gd name="connsiteY86" fmla="*/ 4930787 h 5143499"/>
              <a:gd name="connsiteX87" fmla="*/ 3330068 w 3717682"/>
              <a:gd name="connsiteY87" fmla="*/ 4930787 h 5143499"/>
              <a:gd name="connsiteX88" fmla="*/ 3359017 w 3717682"/>
              <a:gd name="connsiteY88" fmla="*/ 4920373 h 5143499"/>
              <a:gd name="connsiteX89" fmla="*/ 3356513 w 3717682"/>
              <a:gd name="connsiteY89" fmla="*/ 4906283 h 5143499"/>
              <a:gd name="connsiteX90" fmla="*/ 3346818 w 3717682"/>
              <a:gd name="connsiteY90" fmla="*/ 4899335 h 5143499"/>
              <a:gd name="connsiteX91" fmla="*/ 3323472 w 3717682"/>
              <a:gd name="connsiteY91" fmla="*/ 4881854 h 5143499"/>
              <a:gd name="connsiteX92" fmla="*/ 3333574 w 3717682"/>
              <a:gd name="connsiteY92" fmla="*/ 4878767 h 5143499"/>
              <a:gd name="connsiteX93" fmla="*/ 3356462 w 3717682"/>
              <a:gd name="connsiteY93" fmla="*/ 4878767 h 5143499"/>
              <a:gd name="connsiteX94" fmla="*/ 3361853 w 3717682"/>
              <a:gd name="connsiteY94" fmla="*/ 4874797 h 5143499"/>
              <a:gd name="connsiteX95" fmla="*/ 3362990 w 3717682"/>
              <a:gd name="connsiteY95" fmla="*/ 4869051 h 5143499"/>
              <a:gd name="connsiteX96" fmla="*/ 2952612 w 3717682"/>
              <a:gd name="connsiteY96" fmla="*/ 4869051 h 5143499"/>
              <a:gd name="connsiteX97" fmla="*/ 2923866 w 3717682"/>
              <a:gd name="connsiteY97" fmla="*/ 4880811 h 5143499"/>
              <a:gd name="connsiteX98" fmla="*/ 2942738 w 3717682"/>
              <a:gd name="connsiteY98" fmla="*/ 4902212 h 5143499"/>
              <a:gd name="connsiteX99" fmla="*/ 2960006 w 3717682"/>
              <a:gd name="connsiteY99" fmla="*/ 4917185 h 5143499"/>
              <a:gd name="connsiteX100" fmla="*/ 2948061 w 3717682"/>
              <a:gd name="connsiteY100" fmla="*/ 4921315 h 5143499"/>
              <a:gd name="connsiteX101" fmla="*/ 2920997 w 3717682"/>
              <a:gd name="connsiteY101" fmla="*/ 4921315 h 5143499"/>
              <a:gd name="connsiteX102" fmla="*/ 2915598 w 3717682"/>
              <a:gd name="connsiteY102" fmla="*/ 4925294 h 5143499"/>
              <a:gd name="connsiteX103" fmla="*/ 2914520 w 3717682"/>
              <a:gd name="connsiteY103" fmla="*/ 4930787 h 5143499"/>
              <a:gd name="connsiteX104" fmla="*/ 2948647 w 3717682"/>
              <a:gd name="connsiteY104" fmla="*/ 4930787 h 5143499"/>
              <a:gd name="connsiteX105" fmla="*/ 2977596 w 3717682"/>
              <a:gd name="connsiteY105" fmla="*/ 4920373 h 5143499"/>
              <a:gd name="connsiteX106" fmla="*/ 2975108 w 3717682"/>
              <a:gd name="connsiteY106" fmla="*/ 4906283 h 5143499"/>
              <a:gd name="connsiteX107" fmla="*/ 2965405 w 3717682"/>
              <a:gd name="connsiteY107" fmla="*/ 4899335 h 5143499"/>
              <a:gd name="connsiteX108" fmla="*/ 2942051 w 3717682"/>
              <a:gd name="connsiteY108" fmla="*/ 4881854 h 5143499"/>
              <a:gd name="connsiteX109" fmla="*/ 2952153 w 3717682"/>
              <a:gd name="connsiteY109" fmla="*/ 4878767 h 5143499"/>
              <a:gd name="connsiteX110" fmla="*/ 2975049 w 3717682"/>
              <a:gd name="connsiteY110" fmla="*/ 4878767 h 5143499"/>
              <a:gd name="connsiteX111" fmla="*/ 2980440 w 3717682"/>
              <a:gd name="connsiteY111" fmla="*/ 4874797 h 5143499"/>
              <a:gd name="connsiteX112" fmla="*/ 2981577 w 3717682"/>
              <a:gd name="connsiteY112" fmla="*/ 4869051 h 5143499"/>
              <a:gd name="connsiteX113" fmla="*/ 2802111 w 3717682"/>
              <a:gd name="connsiteY113" fmla="*/ 4869051 h 5143499"/>
              <a:gd name="connsiteX114" fmla="*/ 2773366 w 3717682"/>
              <a:gd name="connsiteY114" fmla="*/ 4880811 h 5143499"/>
              <a:gd name="connsiteX115" fmla="*/ 2792246 w 3717682"/>
              <a:gd name="connsiteY115" fmla="*/ 4902212 h 5143499"/>
              <a:gd name="connsiteX116" fmla="*/ 2809505 w 3717682"/>
              <a:gd name="connsiteY116" fmla="*/ 4917185 h 5143499"/>
              <a:gd name="connsiteX117" fmla="*/ 2797561 w 3717682"/>
              <a:gd name="connsiteY117" fmla="*/ 4921315 h 5143499"/>
              <a:gd name="connsiteX118" fmla="*/ 2770488 w 3717682"/>
              <a:gd name="connsiteY118" fmla="*/ 4921315 h 5143499"/>
              <a:gd name="connsiteX119" fmla="*/ 2765097 w 3717682"/>
              <a:gd name="connsiteY119" fmla="*/ 4925294 h 5143499"/>
              <a:gd name="connsiteX120" fmla="*/ 2764011 w 3717682"/>
              <a:gd name="connsiteY120" fmla="*/ 4930787 h 5143499"/>
              <a:gd name="connsiteX121" fmla="*/ 2798138 w 3717682"/>
              <a:gd name="connsiteY121" fmla="*/ 4930787 h 5143499"/>
              <a:gd name="connsiteX122" fmla="*/ 2827104 w 3717682"/>
              <a:gd name="connsiteY122" fmla="*/ 4920373 h 5143499"/>
              <a:gd name="connsiteX123" fmla="*/ 2824600 w 3717682"/>
              <a:gd name="connsiteY123" fmla="*/ 4906283 h 5143499"/>
              <a:gd name="connsiteX124" fmla="*/ 2814913 w 3717682"/>
              <a:gd name="connsiteY124" fmla="*/ 4899335 h 5143499"/>
              <a:gd name="connsiteX125" fmla="*/ 2791542 w 3717682"/>
              <a:gd name="connsiteY125" fmla="*/ 4881854 h 5143499"/>
              <a:gd name="connsiteX126" fmla="*/ 2801644 w 3717682"/>
              <a:gd name="connsiteY126" fmla="*/ 4878767 h 5143499"/>
              <a:gd name="connsiteX127" fmla="*/ 2824532 w 3717682"/>
              <a:gd name="connsiteY127" fmla="*/ 4878767 h 5143499"/>
              <a:gd name="connsiteX128" fmla="*/ 2829939 w 3717682"/>
              <a:gd name="connsiteY128" fmla="*/ 4874797 h 5143499"/>
              <a:gd name="connsiteX129" fmla="*/ 2831060 w 3717682"/>
              <a:gd name="connsiteY129" fmla="*/ 4869051 h 5143499"/>
              <a:gd name="connsiteX130" fmla="*/ 2554594 w 3717682"/>
              <a:gd name="connsiteY130" fmla="*/ 4818697 h 5143499"/>
              <a:gd name="connsiteX131" fmla="*/ 2506679 w 3717682"/>
              <a:gd name="connsiteY131" fmla="*/ 4832401 h 5143499"/>
              <a:gd name="connsiteX132" fmla="*/ 2536426 w 3717682"/>
              <a:gd name="connsiteY132" fmla="*/ 4837128 h 5143499"/>
              <a:gd name="connsiteX133" fmla="*/ 2592592 w 3717682"/>
              <a:gd name="connsiteY133" fmla="*/ 4852573 h 5143499"/>
              <a:gd name="connsiteX134" fmla="*/ 2515457 w 3717682"/>
              <a:gd name="connsiteY134" fmla="*/ 4932277 h 5143499"/>
              <a:gd name="connsiteX135" fmla="*/ 2537318 w 3717682"/>
              <a:gd name="connsiteY135" fmla="*/ 4875983 h 5143499"/>
              <a:gd name="connsiteX136" fmla="*/ 2542895 w 3717682"/>
              <a:gd name="connsiteY136" fmla="*/ 4853187 h 5143499"/>
              <a:gd name="connsiteX137" fmla="*/ 2524218 w 3717682"/>
              <a:gd name="connsiteY137" fmla="*/ 4872030 h 5143499"/>
              <a:gd name="connsiteX138" fmla="*/ 2487578 w 3717682"/>
              <a:gd name="connsiteY138" fmla="*/ 4935414 h 5143499"/>
              <a:gd name="connsiteX139" fmla="*/ 2477187 w 3717682"/>
              <a:gd name="connsiteY139" fmla="*/ 4965487 h 5143499"/>
              <a:gd name="connsiteX140" fmla="*/ 2518259 w 3717682"/>
              <a:gd name="connsiteY140" fmla="*/ 4955216 h 5143499"/>
              <a:gd name="connsiteX141" fmla="*/ 2622229 w 3717682"/>
              <a:gd name="connsiteY141" fmla="*/ 4857300 h 5143499"/>
              <a:gd name="connsiteX142" fmla="*/ 2613315 w 3717682"/>
              <a:gd name="connsiteY142" fmla="*/ 4831517 h 5143499"/>
              <a:gd name="connsiteX143" fmla="*/ 2554594 w 3717682"/>
              <a:gd name="connsiteY143" fmla="*/ 4818697 h 5143499"/>
              <a:gd name="connsiteX144" fmla="*/ 3137129 w 3717682"/>
              <a:gd name="connsiteY144" fmla="*/ 4793385 h 5143499"/>
              <a:gd name="connsiteX145" fmla="*/ 3151773 w 3717682"/>
              <a:gd name="connsiteY145" fmla="*/ 4809730 h 5143499"/>
              <a:gd name="connsiteX146" fmla="*/ 3151035 w 3717682"/>
              <a:gd name="connsiteY146" fmla="*/ 4813431 h 5143499"/>
              <a:gd name="connsiteX147" fmla="*/ 3146739 w 3717682"/>
              <a:gd name="connsiteY147" fmla="*/ 4818016 h 5143499"/>
              <a:gd name="connsiteX148" fmla="*/ 3113512 w 3717682"/>
              <a:gd name="connsiteY148" fmla="*/ 4818016 h 5143499"/>
              <a:gd name="connsiteX149" fmla="*/ 3115142 w 3717682"/>
              <a:gd name="connsiteY149" fmla="*/ 4809730 h 5143499"/>
              <a:gd name="connsiteX150" fmla="*/ 3137129 w 3717682"/>
              <a:gd name="connsiteY150" fmla="*/ 4793385 h 5143499"/>
              <a:gd name="connsiteX151" fmla="*/ 2908772 w 3717682"/>
              <a:gd name="connsiteY151" fmla="*/ 4793385 h 5143499"/>
              <a:gd name="connsiteX152" fmla="*/ 2923408 w 3717682"/>
              <a:gd name="connsiteY152" fmla="*/ 4809730 h 5143499"/>
              <a:gd name="connsiteX153" fmla="*/ 2922678 w 3717682"/>
              <a:gd name="connsiteY153" fmla="*/ 4813431 h 5143499"/>
              <a:gd name="connsiteX154" fmla="*/ 2918374 w 3717682"/>
              <a:gd name="connsiteY154" fmla="*/ 4818016 h 5143499"/>
              <a:gd name="connsiteX155" fmla="*/ 2885163 w 3717682"/>
              <a:gd name="connsiteY155" fmla="*/ 4818016 h 5143499"/>
              <a:gd name="connsiteX156" fmla="*/ 2886785 w 3717682"/>
              <a:gd name="connsiteY156" fmla="*/ 4809730 h 5143499"/>
              <a:gd name="connsiteX157" fmla="*/ 2908772 w 3717682"/>
              <a:gd name="connsiteY157" fmla="*/ 4793385 h 5143499"/>
              <a:gd name="connsiteX158" fmla="*/ 2671715 w 3717682"/>
              <a:gd name="connsiteY158" fmla="*/ 4783926 h 5143499"/>
              <a:gd name="connsiteX159" fmla="*/ 2638520 w 3717682"/>
              <a:gd name="connsiteY159" fmla="*/ 4801898 h 5143499"/>
              <a:gd name="connsiteX160" fmla="*/ 2664854 w 3717682"/>
              <a:gd name="connsiteY160" fmla="*/ 4864568 h 5143499"/>
              <a:gd name="connsiteX161" fmla="*/ 2687733 w 3717682"/>
              <a:gd name="connsiteY161" fmla="*/ 4909866 h 5143499"/>
              <a:gd name="connsiteX162" fmla="*/ 2639174 w 3717682"/>
              <a:gd name="connsiteY162" fmla="*/ 4918716 h 5143499"/>
              <a:gd name="connsiteX163" fmla="*/ 2602737 w 3717682"/>
              <a:gd name="connsiteY163" fmla="*/ 4921576 h 5143499"/>
              <a:gd name="connsiteX164" fmla="*/ 2609444 w 3717682"/>
              <a:gd name="connsiteY164" fmla="*/ 4931233 h 5143499"/>
              <a:gd name="connsiteX165" fmla="*/ 2663666 w 3717682"/>
              <a:gd name="connsiteY165" fmla="*/ 4936701 h 5143499"/>
              <a:gd name="connsiteX166" fmla="*/ 2718643 w 3717682"/>
              <a:gd name="connsiteY166" fmla="*/ 4911877 h 5143499"/>
              <a:gd name="connsiteX167" fmla="*/ 2694278 w 3717682"/>
              <a:gd name="connsiteY167" fmla="*/ 4859916 h 5143499"/>
              <a:gd name="connsiteX168" fmla="*/ 2665856 w 3717682"/>
              <a:gd name="connsiteY168" fmla="*/ 4812506 h 5143499"/>
              <a:gd name="connsiteX169" fmla="*/ 2718125 w 3717682"/>
              <a:gd name="connsiteY169" fmla="*/ 4800493 h 5143499"/>
              <a:gd name="connsiteX170" fmla="*/ 2735495 w 3717682"/>
              <a:gd name="connsiteY170" fmla="*/ 4794235 h 5143499"/>
              <a:gd name="connsiteX171" fmla="*/ 2711130 w 3717682"/>
              <a:gd name="connsiteY171" fmla="*/ 4785284 h 5143499"/>
              <a:gd name="connsiteX172" fmla="*/ 2671715 w 3717682"/>
              <a:gd name="connsiteY172" fmla="*/ 4783926 h 5143499"/>
              <a:gd name="connsiteX173" fmla="*/ 3324762 w 3717682"/>
              <a:gd name="connsiteY173" fmla="*/ 4783846 h 5143499"/>
              <a:gd name="connsiteX174" fmla="*/ 3319490 w 3717682"/>
              <a:gd name="connsiteY174" fmla="*/ 4787194 h 5143499"/>
              <a:gd name="connsiteX175" fmla="*/ 3318268 w 3717682"/>
              <a:gd name="connsiteY175" fmla="*/ 4793402 h 5143499"/>
              <a:gd name="connsiteX176" fmla="*/ 3342734 w 3717682"/>
              <a:gd name="connsiteY176" fmla="*/ 4793402 h 5143499"/>
              <a:gd name="connsiteX177" fmla="*/ 3332539 w 3717682"/>
              <a:gd name="connsiteY177" fmla="*/ 4845422 h 5143499"/>
              <a:gd name="connsiteX178" fmla="*/ 3343507 w 3717682"/>
              <a:gd name="connsiteY178" fmla="*/ 4845422 h 5143499"/>
              <a:gd name="connsiteX179" fmla="*/ 3349000 w 3717682"/>
              <a:gd name="connsiteY179" fmla="*/ 4841048 h 5143499"/>
              <a:gd name="connsiteX180" fmla="*/ 3358355 w 3717682"/>
              <a:gd name="connsiteY180" fmla="*/ 4793402 h 5143499"/>
              <a:gd name="connsiteX181" fmla="*/ 3378780 w 3717682"/>
              <a:gd name="connsiteY181" fmla="*/ 4793402 h 5143499"/>
              <a:gd name="connsiteX182" fmla="*/ 3383195 w 3717682"/>
              <a:gd name="connsiteY182" fmla="*/ 4789633 h 5143499"/>
              <a:gd name="connsiteX183" fmla="*/ 3384316 w 3717682"/>
              <a:gd name="connsiteY183" fmla="*/ 4783846 h 5143499"/>
              <a:gd name="connsiteX184" fmla="*/ 3274395 w 3717682"/>
              <a:gd name="connsiteY184" fmla="*/ 4783846 h 5143499"/>
              <a:gd name="connsiteX185" fmla="*/ 3262314 w 3717682"/>
              <a:gd name="connsiteY185" fmla="*/ 4845422 h 5143499"/>
              <a:gd name="connsiteX186" fmla="*/ 3314906 w 3717682"/>
              <a:gd name="connsiteY186" fmla="*/ 4845422 h 5143499"/>
              <a:gd name="connsiteX187" fmla="*/ 3316044 w 3717682"/>
              <a:gd name="connsiteY187" fmla="*/ 4839660 h 5143499"/>
              <a:gd name="connsiteX188" fmla="*/ 3313123 w 3717682"/>
              <a:gd name="connsiteY188" fmla="*/ 4835916 h 5143499"/>
              <a:gd name="connsiteX189" fmla="*/ 3279785 w 3717682"/>
              <a:gd name="connsiteY189" fmla="*/ 4835916 h 5143499"/>
              <a:gd name="connsiteX190" fmla="*/ 3289599 w 3717682"/>
              <a:gd name="connsiteY190" fmla="*/ 4785932 h 5143499"/>
              <a:gd name="connsiteX191" fmla="*/ 3287689 w 3717682"/>
              <a:gd name="connsiteY191" fmla="*/ 4783846 h 5143499"/>
              <a:gd name="connsiteX192" fmla="*/ 3190706 w 3717682"/>
              <a:gd name="connsiteY192" fmla="*/ 4783846 h 5143499"/>
              <a:gd name="connsiteX193" fmla="*/ 3187174 w 3717682"/>
              <a:gd name="connsiteY193" fmla="*/ 4786580 h 5143499"/>
              <a:gd name="connsiteX194" fmla="*/ 3181062 w 3717682"/>
              <a:gd name="connsiteY194" fmla="*/ 4817948 h 5143499"/>
              <a:gd name="connsiteX195" fmla="*/ 3209943 w 3717682"/>
              <a:gd name="connsiteY195" fmla="*/ 4846801 h 5143499"/>
              <a:gd name="connsiteX196" fmla="*/ 3209943 w 3717682"/>
              <a:gd name="connsiteY196" fmla="*/ 4846793 h 5143499"/>
              <a:gd name="connsiteX197" fmla="*/ 3249622 w 3717682"/>
              <a:gd name="connsiteY197" fmla="*/ 4817940 h 5143499"/>
              <a:gd name="connsiteX198" fmla="*/ 3255709 w 3717682"/>
              <a:gd name="connsiteY198" fmla="*/ 4786580 h 5143499"/>
              <a:gd name="connsiteX199" fmla="*/ 3253247 w 3717682"/>
              <a:gd name="connsiteY199" fmla="*/ 4783846 h 5143499"/>
              <a:gd name="connsiteX200" fmla="*/ 3240810 w 3717682"/>
              <a:gd name="connsiteY200" fmla="*/ 4783846 h 5143499"/>
              <a:gd name="connsiteX201" fmla="*/ 3237398 w 3717682"/>
              <a:gd name="connsiteY201" fmla="*/ 4801890 h 5143499"/>
              <a:gd name="connsiteX202" fmla="*/ 3235445 w 3717682"/>
              <a:gd name="connsiteY202" fmla="*/ 4811496 h 5143499"/>
              <a:gd name="connsiteX203" fmla="*/ 3233815 w 3717682"/>
              <a:gd name="connsiteY203" fmla="*/ 4819841 h 5143499"/>
              <a:gd name="connsiteX204" fmla="*/ 3211522 w 3717682"/>
              <a:gd name="connsiteY204" fmla="*/ 4836329 h 5143499"/>
              <a:gd name="connsiteX205" fmla="*/ 3196139 w 3717682"/>
              <a:gd name="connsiteY205" fmla="*/ 4819841 h 5143499"/>
              <a:gd name="connsiteX206" fmla="*/ 3196852 w 3717682"/>
              <a:gd name="connsiteY206" fmla="*/ 4816114 h 5143499"/>
              <a:gd name="connsiteX207" fmla="*/ 3199722 w 3717682"/>
              <a:gd name="connsiteY207" fmla="*/ 4801898 h 5143499"/>
              <a:gd name="connsiteX208" fmla="*/ 3203143 w 3717682"/>
              <a:gd name="connsiteY208" fmla="*/ 4783846 h 5143499"/>
              <a:gd name="connsiteX209" fmla="*/ 2786677 w 3717682"/>
              <a:gd name="connsiteY209" fmla="*/ 4783846 h 5143499"/>
              <a:gd name="connsiteX210" fmla="*/ 2786491 w 3717682"/>
              <a:gd name="connsiteY210" fmla="*/ 4784645 h 5143499"/>
              <a:gd name="connsiteX211" fmla="*/ 2793053 w 3717682"/>
              <a:gd name="connsiteY211" fmla="*/ 4793360 h 5143499"/>
              <a:gd name="connsiteX212" fmla="*/ 2825415 w 3717682"/>
              <a:gd name="connsiteY212" fmla="*/ 4793360 h 5143499"/>
              <a:gd name="connsiteX213" fmla="*/ 2840101 w 3717682"/>
              <a:gd name="connsiteY213" fmla="*/ 4814659 h 5143499"/>
              <a:gd name="connsiteX214" fmla="*/ 2820032 w 3717682"/>
              <a:gd name="connsiteY214" fmla="*/ 4835916 h 5143499"/>
              <a:gd name="connsiteX215" fmla="*/ 2797866 w 3717682"/>
              <a:gd name="connsiteY215" fmla="*/ 4835916 h 5143499"/>
              <a:gd name="connsiteX216" fmla="*/ 2804709 w 3717682"/>
              <a:gd name="connsiteY216" fmla="*/ 4800964 h 5143499"/>
              <a:gd name="connsiteX217" fmla="*/ 2791610 w 3717682"/>
              <a:gd name="connsiteY217" fmla="*/ 4800964 h 5143499"/>
              <a:gd name="connsiteX218" fmla="*/ 2788698 w 3717682"/>
              <a:gd name="connsiteY218" fmla="*/ 4803051 h 5143499"/>
              <a:gd name="connsiteX219" fmla="*/ 2780378 w 3717682"/>
              <a:gd name="connsiteY219" fmla="*/ 4845422 h 5143499"/>
              <a:gd name="connsiteX220" fmla="*/ 2817188 w 3717682"/>
              <a:gd name="connsiteY220" fmla="*/ 4845422 h 5143499"/>
              <a:gd name="connsiteX221" fmla="*/ 2856562 w 3717682"/>
              <a:gd name="connsiteY221" fmla="*/ 4814239 h 5143499"/>
              <a:gd name="connsiteX222" fmla="*/ 2831196 w 3717682"/>
              <a:gd name="connsiteY222" fmla="*/ 4783846 h 5143499"/>
              <a:gd name="connsiteX223" fmla="*/ 3055062 w 3717682"/>
              <a:gd name="connsiteY223" fmla="*/ 4783661 h 5143499"/>
              <a:gd name="connsiteX224" fmla="*/ 3026300 w 3717682"/>
              <a:gd name="connsiteY224" fmla="*/ 4795438 h 5143499"/>
              <a:gd name="connsiteX225" fmla="*/ 3045180 w 3717682"/>
              <a:gd name="connsiteY225" fmla="*/ 4816838 h 5143499"/>
              <a:gd name="connsiteX226" fmla="*/ 3062456 w 3717682"/>
              <a:gd name="connsiteY226" fmla="*/ 4831820 h 5143499"/>
              <a:gd name="connsiteX227" fmla="*/ 3050512 w 3717682"/>
              <a:gd name="connsiteY227" fmla="*/ 4835942 h 5143499"/>
              <a:gd name="connsiteX228" fmla="*/ 3023447 w 3717682"/>
              <a:gd name="connsiteY228" fmla="*/ 4835942 h 5143499"/>
              <a:gd name="connsiteX229" fmla="*/ 3018040 w 3717682"/>
              <a:gd name="connsiteY229" fmla="*/ 4839920 h 5143499"/>
              <a:gd name="connsiteX230" fmla="*/ 3016970 w 3717682"/>
              <a:gd name="connsiteY230" fmla="*/ 4845422 h 5143499"/>
              <a:gd name="connsiteX231" fmla="*/ 3051097 w 3717682"/>
              <a:gd name="connsiteY231" fmla="*/ 4845422 h 5143499"/>
              <a:gd name="connsiteX232" fmla="*/ 3080055 w 3717682"/>
              <a:gd name="connsiteY232" fmla="*/ 4834999 h 5143499"/>
              <a:gd name="connsiteX233" fmla="*/ 3080063 w 3717682"/>
              <a:gd name="connsiteY233" fmla="*/ 4834999 h 5143499"/>
              <a:gd name="connsiteX234" fmla="*/ 3077559 w 3717682"/>
              <a:gd name="connsiteY234" fmla="*/ 4820909 h 5143499"/>
              <a:gd name="connsiteX235" fmla="*/ 3067864 w 3717682"/>
              <a:gd name="connsiteY235" fmla="*/ 4813944 h 5143499"/>
              <a:gd name="connsiteX236" fmla="*/ 3044493 w 3717682"/>
              <a:gd name="connsiteY236" fmla="*/ 4796481 h 5143499"/>
              <a:gd name="connsiteX237" fmla="*/ 3054620 w 3717682"/>
              <a:gd name="connsiteY237" fmla="*/ 4793385 h 5143499"/>
              <a:gd name="connsiteX238" fmla="*/ 3077491 w 3717682"/>
              <a:gd name="connsiteY238" fmla="*/ 4793385 h 5143499"/>
              <a:gd name="connsiteX239" fmla="*/ 3082899 w 3717682"/>
              <a:gd name="connsiteY239" fmla="*/ 4789431 h 5143499"/>
              <a:gd name="connsiteX240" fmla="*/ 3084028 w 3717682"/>
              <a:gd name="connsiteY240" fmla="*/ 4783661 h 5143499"/>
              <a:gd name="connsiteX241" fmla="*/ 2982358 w 3717682"/>
              <a:gd name="connsiteY241" fmla="*/ 4783661 h 5143499"/>
              <a:gd name="connsiteX242" fmla="*/ 2953613 w 3717682"/>
              <a:gd name="connsiteY242" fmla="*/ 4795438 h 5143499"/>
              <a:gd name="connsiteX243" fmla="*/ 2972485 w 3717682"/>
              <a:gd name="connsiteY243" fmla="*/ 4816838 h 5143499"/>
              <a:gd name="connsiteX244" fmla="*/ 2989761 w 3717682"/>
              <a:gd name="connsiteY244" fmla="*/ 4831820 h 5143499"/>
              <a:gd name="connsiteX245" fmla="*/ 2977800 w 3717682"/>
              <a:gd name="connsiteY245" fmla="*/ 4835942 h 5143499"/>
              <a:gd name="connsiteX246" fmla="*/ 2950761 w 3717682"/>
              <a:gd name="connsiteY246" fmla="*/ 4835942 h 5143499"/>
              <a:gd name="connsiteX247" fmla="*/ 2945345 w 3717682"/>
              <a:gd name="connsiteY247" fmla="*/ 4839920 h 5143499"/>
              <a:gd name="connsiteX248" fmla="*/ 2944266 w 3717682"/>
              <a:gd name="connsiteY248" fmla="*/ 4845422 h 5143499"/>
              <a:gd name="connsiteX249" fmla="*/ 2978394 w 3717682"/>
              <a:gd name="connsiteY249" fmla="*/ 4845422 h 5143499"/>
              <a:gd name="connsiteX250" fmla="*/ 3007360 w 3717682"/>
              <a:gd name="connsiteY250" fmla="*/ 4834999 h 5143499"/>
              <a:gd name="connsiteX251" fmla="*/ 3004855 w 3717682"/>
              <a:gd name="connsiteY251" fmla="*/ 4820909 h 5143499"/>
              <a:gd name="connsiteX252" fmla="*/ 2995161 w 3717682"/>
              <a:gd name="connsiteY252" fmla="*/ 4813944 h 5143499"/>
              <a:gd name="connsiteX253" fmla="*/ 2971798 w 3717682"/>
              <a:gd name="connsiteY253" fmla="*/ 4796481 h 5143499"/>
              <a:gd name="connsiteX254" fmla="*/ 2981917 w 3717682"/>
              <a:gd name="connsiteY254" fmla="*/ 4793385 h 5143499"/>
              <a:gd name="connsiteX255" fmla="*/ 3004779 w 3717682"/>
              <a:gd name="connsiteY255" fmla="*/ 4793385 h 5143499"/>
              <a:gd name="connsiteX256" fmla="*/ 3010178 w 3717682"/>
              <a:gd name="connsiteY256" fmla="*/ 4789431 h 5143499"/>
              <a:gd name="connsiteX257" fmla="*/ 3011324 w 3717682"/>
              <a:gd name="connsiteY257" fmla="*/ 4783661 h 5143499"/>
              <a:gd name="connsiteX258" fmla="*/ 3138963 w 3717682"/>
              <a:gd name="connsiteY258" fmla="*/ 4783013 h 5143499"/>
              <a:gd name="connsiteX259" fmla="*/ 3100124 w 3717682"/>
              <a:gd name="connsiteY259" fmla="*/ 4811614 h 5143499"/>
              <a:gd name="connsiteX260" fmla="*/ 3094028 w 3717682"/>
              <a:gd name="connsiteY260" fmla="*/ 4842705 h 5143499"/>
              <a:gd name="connsiteX261" fmla="*/ 3096388 w 3717682"/>
              <a:gd name="connsiteY261" fmla="*/ 4845422 h 5143499"/>
              <a:gd name="connsiteX262" fmla="*/ 3108138 w 3717682"/>
              <a:gd name="connsiteY262" fmla="*/ 4845422 h 5143499"/>
              <a:gd name="connsiteX263" fmla="*/ 3111567 w 3717682"/>
              <a:gd name="connsiteY263" fmla="*/ 4827521 h 5143499"/>
              <a:gd name="connsiteX264" fmla="*/ 3148174 w 3717682"/>
              <a:gd name="connsiteY264" fmla="*/ 4827521 h 5143499"/>
              <a:gd name="connsiteX265" fmla="*/ 3144753 w 3717682"/>
              <a:gd name="connsiteY265" fmla="*/ 4845422 h 5143499"/>
              <a:gd name="connsiteX266" fmla="*/ 3156510 w 3717682"/>
              <a:gd name="connsiteY266" fmla="*/ 4845422 h 5143499"/>
              <a:gd name="connsiteX267" fmla="*/ 3159932 w 3717682"/>
              <a:gd name="connsiteY267" fmla="*/ 4842705 h 5143499"/>
              <a:gd name="connsiteX268" fmla="*/ 3166036 w 3717682"/>
              <a:gd name="connsiteY268" fmla="*/ 4811614 h 5143499"/>
              <a:gd name="connsiteX269" fmla="*/ 3138963 w 3717682"/>
              <a:gd name="connsiteY269" fmla="*/ 4783013 h 5143499"/>
              <a:gd name="connsiteX270" fmla="*/ 2910597 w 3717682"/>
              <a:gd name="connsiteY270" fmla="*/ 4783013 h 5143499"/>
              <a:gd name="connsiteX271" fmla="*/ 2871775 w 3717682"/>
              <a:gd name="connsiteY271" fmla="*/ 4811614 h 5143499"/>
              <a:gd name="connsiteX272" fmla="*/ 2865663 w 3717682"/>
              <a:gd name="connsiteY272" fmla="*/ 4842705 h 5143499"/>
              <a:gd name="connsiteX273" fmla="*/ 2868031 w 3717682"/>
              <a:gd name="connsiteY273" fmla="*/ 4845422 h 5143499"/>
              <a:gd name="connsiteX274" fmla="*/ 2879781 w 3717682"/>
              <a:gd name="connsiteY274" fmla="*/ 4845422 h 5143499"/>
              <a:gd name="connsiteX275" fmla="*/ 2883202 w 3717682"/>
              <a:gd name="connsiteY275" fmla="*/ 4827521 h 5143499"/>
              <a:gd name="connsiteX276" fmla="*/ 2919817 w 3717682"/>
              <a:gd name="connsiteY276" fmla="*/ 4827521 h 5143499"/>
              <a:gd name="connsiteX277" fmla="*/ 2916396 w 3717682"/>
              <a:gd name="connsiteY277" fmla="*/ 4845422 h 5143499"/>
              <a:gd name="connsiteX278" fmla="*/ 2928154 w 3717682"/>
              <a:gd name="connsiteY278" fmla="*/ 4845422 h 5143499"/>
              <a:gd name="connsiteX279" fmla="*/ 2931566 w 3717682"/>
              <a:gd name="connsiteY279" fmla="*/ 4842705 h 5143499"/>
              <a:gd name="connsiteX280" fmla="*/ 2937679 w 3717682"/>
              <a:gd name="connsiteY280" fmla="*/ 4811614 h 5143499"/>
              <a:gd name="connsiteX281" fmla="*/ 2910597 w 3717682"/>
              <a:gd name="connsiteY281" fmla="*/ 4783013 h 5143499"/>
              <a:gd name="connsiteX282" fmla="*/ 2604596 w 3717682"/>
              <a:gd name="connsiteY282" fmla="*/ 4694494 h 5143499"/>
              <a:gd name="connsiteX283" fmla="*/ 2604596 w 3717682"/>
              <a:gd name="connsiteY283" fmla="*/ 4694502 h 5143499"/>
              <a:gd name="connsiteX284" fmla="*/ 2561063 w 3717682"/>
              <a:gd name="connsiteY284" fmla="*/ 4706111 h 5143499"/>
              <a:gd name="connsiteX285" fmla="*/ 2584714 w 3717682"/>
              <a:gd name="connsiteY285" fmla="*/ 4710283 h 5143499"/>
              <a:gd name="connsiteX286" fmla="*/ 2633732 w 3717682"/>
              <a:gd name="connsiteY286" fmla="*/ 4720882 h 5143499"/>
              <a:gd name="connsiteX287" fmla="*/ 2585478 w 3717682"/>
              <a:gd name="connsiteY287" fmla="*/ 4787632 h 5143499"/>
              <a:gd name="connsiteX288" fmla="*/ 2569909 w 3717682"/>
              <a:gd name="connsiteY288" fmla="*/ 4802588 h 5143499"/>
              <a:gd name="connsiteX289" fmla="*/ 2571759 w 3717682"/>
              <a:gd name="connsiteY289" fmla="*/ 4806609 h 5143499"/>
              <a:gd name="connsiteX290" fmla="*/ 2588942 w 3717682"/>
              <a:gd name="connsiteY290" fmla="*/ 4800881 h 5143499"/>
              <a:gd name="connsiteX291" fmla="*/ 2661416 w 3717682"/>
              <a:gd name="connsiteY291" fmla="*/ 4714910 h 5143499"/>
              <a:gd name="connsiteX292" fmla="*/ 2604596 w 3717682"/>
              <a:gd name="connsiteY292" fmla="*/ 4694494 h 5143499"/>
              <a:gd name="connsiteX293" fmla="*/ 893329 w 3717682"/>
              <a:gd name="connsiteY293" fmla="*/ 0 h 5143499"/>
              <a:gd name="connsiteX294" fmla="*/ 3717682 w 3717682"/>
              <a:gd name="connsiteY294" fmla="*/ 0 h 5143499"/>
              <a:gd name="connsiteX295" fmla="*/ 3717682 w 3717682"/>
              <a:gd name="connsiteY295" fmla="*/ 5143499 h 5143499"/>
              <a:gd name="connsiteX296" fmla="*/ 1175798 w 3717682"/>
              <a:gd name="connsiteY296" fmla="*/ 5143499 h 5143499"/>
              <a:gd name="connsiteX297" fmla="*/ 1096714 w 3717682"/>
              <a:gd name="connsiteY297" fmla="*/ 5071623 h 5143499"/>
              <a:gd name="connsiteX298" fmla="*/ 0 w 3717682"/>
              <a:gd name="connsiteY298" fmla="*/ 2423921 h 5143499"/>
              <a:gd name="connsiteX299" fmla="*/ 855043 w 3717682"/>
              <a:gd name="connsiteY299" fmla="*/ 42126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</a:cxnLst>
            <a:rect l="l" t="t" r="r" b="b"/>
            <a:pathLst>
              <a:path w="3717682" h="5143499">
                <a:moveTo>
                  <a:pt x="3243187" y="4869228"/>
                </a:moveTo>
                <a:cubicBezTo>
                  <a:pt x="3240488" y="4869228"/>
                  <a:pt x="3238909" y="4870465"/>
                  <a:pt x="3238365" y="4873182"/>
                </a:cubicBezTo>
                <a:lnTo>
                  <a:pt x="3238374" y="4873182"/>
                </a:lnTo>
                <a:lnTo>
                  <a:pt x="3227066" y="4930787"/>
                </a:lnTo>
                <a:lnTo>
                  <a:pt x="3284505" y="4930787"/>
                </a:lnTo>
                <a:lnTo>
                  <a:pt x="3285694" y="4924630"/>
                </a:lnTo>
                <a:cubicBezTo>
                  <a:pt x="3286203" y="4922123"/>
                  <a:pt x="3285584" y="4921282"/>
                  <a:pt x="3282706" y="4921282"/>
                </a:cubicBezTo>
                <a:lnTo>
                  <a:pt x="3244546" y="4921282"/>
                </a:lnTo>
                <a:lnTo>
                  <a:pt x="3247789" y="4904760"/>
                </a:lnTo>
                <a:lnTo>
                  <a:pt x="3281509" y="4904760"/>
                </a:lnTo>
                <a:cubicBezTo>
                  <a:pt x="3282401" y="4904794"/>
                  <a:pt x="3283181" y="4904169"/>
                  <a:pt x="3283334" y="4903297"/>
                </a:cubicBezTo>
                <a:lnTo>
                  <a:pt x="3284624" y="4896744"/>
                </a:lnTo>
                <a:cubicBezTo>
                  <a:pt x="3284794" y="4895919"/>
                  <a:pt x="3284319" y="4895280"/>
                  <a:pt x="3283376" y="4895280"/>
                </a:cubicBezTo>
                <a:lnTo>
                  <a:pt x="3249639" y="4895280"/>
                </a:lnTo>
                <a:lnTo>
                  <a:pt x="3252865" y="4878792"/>
                </a:lnTo>
                <a:lnTo>
                  <a:pt x="3289684" y="4878792"/>
                </a:lnTo>
                <a:cubicBezTo>
                  <a:pt x="3291424" y="4878792"/>
                  <a:pt x="3293148" y="4878792"/>
                  <a:pt x="3293589" y="4876488"/>
                </a:cubicBezTo>
                <a:lnTo>
                  <a:pt x="3295015" y="4869228"/>
                </a:lnTo>
                <a:close/>
                <a:moveTo>
                  <a:pt x="3143539" y="4869228"/>
                </a:moveTo>
                <a:cubicBezTo>
                  <a:pt x="3141229" y="4869228"/>
                  <a:pt x="3139965" y="4870675"/>
                  <a:pt x="3139481" y="4873182"/>
                </a:cubicBezTo>
                <a:lnTo>
                  <a:pt x="3128173" y="4930787"/>
                </a:lnTo>
                <a:lnTo>
                  <a:pt x="3140126" y="4930787"/>
                </a:lnTo>
                <a:cubicBezTo>
                  <a:pt x="3142630" y="4930787"/>
                  <a:pt x="3144031" y="4929542"/>
                  <a:pt x="3144481" y="4927246"/>
                </a:cubicBezTo>
                <a:lnTo>
                  <a:pt x="3152945" y="4884134"/>
                </a:lnTo>
                <a:lnTo>
                  <a:pt x="3166681" y="4903549"/>
                </a:lnTo>
                <a:cubicBezTo>
                  <a:pt x="3167335" y="4904730"/>
                  <a:pt x="3168598" y="4905454"/>
                  <a:pt x="3169958" y="4905425"/>
                </a:cubicBezTo>
                <a:lnTo>
                  <a:pt x="3176138" y="4905425"/>
                </a:lnTo>
                <a:cubicBezTo>
                  <a:pt x="3177678" y="4905357"/>
                  <a:pt x="3179127" y="4904681"/>
                  <a:pt x="3180162" y="4903549"/>
                </a:cubicBezTo>
                <a:lnTo>
                  <a:pt x="3201504" y="4884134"/>
                </a:lnTo>
                <a:lnTo>
                  <a:pt x="3193040" y="4927246"/>
                </a:lnTo>
                <a:cubicBezTo>
                  <a:pt x="3192591" y="4929542"/>
                  <a:pt x="3193499" y="4930787"/>
                  <a:pt x="3196012" y="4930787"/>
                </a:cubicBezTo>
                <a:lnTo>
                  <a:pt x="3207956" y="4930787"/>
                </a:lnTo>
                <a:lnTo>
                  <a:pt x="3219273" y="4873190"/>
                </a:lnTo>
                <a:cubicBezTo>
                  <a:pt x="3219748" y="4870675"/>
                  <a:pt x="3219086" y="4869228"/>
                  <a:pt x="3216768" y="4869228"/>
                </a:cubicBezTo>
                <a:lnTo>
                  <a:pt x="3202693" y="4869228"/>
                </a:lnTo>
                <a:lnTo>
                  <a:pt x="3175442" y="4893227"/>
                </a:lnTo>
                <a:lnTo>
                  <a:pt x="3157614" y="4869228"/>
                </a:lnTo>
                <a:close/>
                <a:moveTo>
                  <a:pt x="3072703" y="4869228"/>
                </a:moveTo>
                <a:cubicBezTo>
                  <a:pt x="3070003" y="4869228"/>
                  <a:pt x="3068407" y="4870465"/>
                  <a:pt x="3067872" y="4873182"/>
                </a:cubicBezTo>
                <a:lnTo>
                  <a:pt x="3056581" y="4930787"/>
                </a:lnTo>
                <a:lnTo>
                  <a:pt x="3113995" y="4930787"/>
                </a:lnTo>
                <a:lnTo>
                  <a:pt x="3115209" y="4924630"/>
                </a:lnTo>
                <a:cubicBezTo>
                  <a:pt x="3115710" y="4922123"/>
                  <a:pt x="3115091" y="4921282"/>
                  <a:pt x="3112196" y="4921282"/>
                </a:cubicBezTo>
                <a:lnTo>
                  <a:pt x="3074053" y="4921282"/>
                </a:lnTo>
                <a:lnTo>
                  <a:pt x="3077287" y="4904760"/>
                </a:lnTo>
                <a:lnTo>
                  <a:pt x="3111007" y="4904760"/>
                </a:lnTo>
                <a:cubicBezTo>
                  <a:pt x="3111899" y="4904787"/>
                  <a:pt x="3112678" y="4904166"/>
                  <a:pt x="3112841" y="4903297"/>
                </a:cubicBezTo>
                <a:lnTo>
                  <a:pt x="3114131" y="4896744"/>
                </a:lnTo>
                <a:cubicBezTo>
                  <a:pt x="3114284" y="4895919"/>
                  <a:pt x="3113834" y="4895280"/>
                  <a:pt x="3112875" y="4895280"/>
                </a:cubicBezTo>
                <a:lnTo>
                  <a:pt x="3079146" y="4895280"/>
                </a:lnTo>
                <a:lnTo>
                  <a:pt x="3082389" y="4878792"/>
                </a:lnTo>
                <a:lnTo>
                  <a:pt x="3119199" y="4878792"/>
                </a:lnTo>
                <a:cubicBezTo>
                  <a:pt x="3120931" y="4878792"/>
                  <a:pt x="3122655" y="4878792"/>
                  <a:pt x="3123122" y="4876488"/>
                </a:cubicBezTo>
                <a:lnTo>
                  <a:pt x="3124531" y="4869228"/>
                </a:lnTo>
                <a:close/>
                <a:moveTo>
                  <a:pt x="2999626" y="4869228"/>
                </a:moveTo>
                <a:cubicBezTo>
                  <a:pt x="2996544" y="4869228"/>
                  <a:pt x="2994787" y="4870263"/>
                  <a:pt x="2994346" y="4872559"/>
                </a:cubicBezTo>
                <a:lnTo>
                  <a:pt x="2993115" y="4878767"/>
                </a:lnTo>
                <a:lnTo>
                  <a:pt x="3017581" y="4878767"/>
                </a:lnTo>
                <a:lnTo>
                  <a:pt x="3007394" y="4930787"/>
                </a:lnTo>
                <a:lnTo>
                  <a:pt x="3018362" y="4930787"/>
                </a:lnTo>
                <a:cubicBezTo>
                  <a:pt x="3021444" y="4930787"/>
                  <a:pt x="3023227" y="4929542"/>
                  <a:pt x="3023863" y="4926413"/>
                </a:cubicBezTo>
                <a:lnTo>
                  <a:pt x="3033202" y="4878767"/>
                </a:lnTo>
                <a:lnTo>
                  <a:pt x="3053627" y="4878767"/>
                </a:lnTo>
                <a:cubicBezTo>
                  <a:pt x="3056514" y="4878767"/>
                  <a:pt x="3057532" y="4877514"/>
                  <a:pt x="3058025" y="4874999"/>
                </a:cubicBezTo>
                <a:lnTo>
                  <a:pt x="3058025" y="4875007"/>
                </a:lnTo>
                <a:lnTo>
                  <a:pt x="3059162" y="4869228"/>
                </a:lnTo>
                <a:close/>
                <a:moveTo>
                  <a:pt x="2848319" y="4869228"/>
                </a:moveTo>
                <a:cubicBezTo>
                  <a:pt x="2846774" y="4869228"/>
                  <a:pt x="2845611" y="4870254"/>
                  <a:pt x="2845407" y="4871306"/>
                </a:cubicBezTo>
                <a:lnTo>
                  <a:pt x="2842096" y="4888214"/>
                </a:lnTo>
                <a:cubicBezTo>
                  <a:pt x="2835789" y="4920365"/>
                  <a:pt x="2866512" y="4915974"/>
                  <a:pt x="2886403" y="4909925"/>
                </a:cubicBezTo>
                <a:lnTo>
                  <a:pt x="2882302" y="4930787"/>
                </a:lnTo>
                <a:lnTo>
                  <a:pt x="2893279" y="4930787"/>
                </a:lnTo>
                <a:cubicBezTo>
                  <a:pt x="2896369" y="4930787"/>
                  <a:pt x="2898152" y="4929542"/>
                  <a:pt x="2898780" y="4926413"/>
                </a:cubicBezTo>
                <a:lnTo>
                  <a:pt x="2909986" y="4869228"/>
                </a:lnTo>
                <a:lnTo>
                  <a:pt x="2896692" y="4869228"/>
                </a:lnTo>
                <a:cubicBezTo>
                  <a:pt x="2895350" y="4869228"/>
                  <a:pt x="2894179" y="4870254"/>
                  <a:pt x="2893984" y="4871306"/>
                </a:cubicBezTo>
                <a:lnTo>
                  <a:pt x="2888465" y="4899335"/>
                </a:lnTo>
                <a:cubicBezTo>
                  <a:pt x="2878847" y="4902262"/>
                  <a:pt x="2853897" y="4907629"/>
                  <a:pt x="2857785" y="4887802"/>
                </a:cubicBezTo>
                <a:lnTo>
                  <a:pt x="2861435" y="4869228"/>
                </a:lnTo>
                <a:close/>
                <a:moveTo>
                  <a:pt x="3334041" y="4869051"/>
                </a:moveTo>
                <a:cubicBezTo>
                  <a:pt x="3317631" y="4869051"/>
                  <a:pt x="3307783" y="4869152"/>
                  <a:pt x="3305279" y="4880811"/>
                </a:cubicBezTo>
                <a:cubicBezTo>
                  <a:pt x="3303428" y="4889476"/>
                  <a:pt x="3310271" y="4893665"/>
                  <a:pt x="3324143" y="4902212"/>
                </a:cubicBezTo>
                <a:cubicBezTo>
                  <a:pt x="3339356" y="4911549"/>
                  <a:pt x="3342828" y="4912264"/>
                  <a:pt x="3341410" y="4917185"/>
                </a:cubicBezTo>
                <a:cubicBezTo>
                  <a:pt x="3340306" y="4921155"/>
                  <a:pt x="3336316" y="4921315"/>
                  <a:pt x="3329482" y="4921315"/>
                </a:cubicBezTo>
                <a:lnTo>
                  <a:pt x="3302410" y="4921315"/>
                </a:lnTo>
                <a:cubicBezTo>
                  <a:pt x="3299336" y="4921315"/>
                  <a:pt x="3297545" y="4922577"/>
                  <a:pt x="3297010" y="4925294"/>
                </a:cubicBezTo>
                <a:lnTo>
                  <a:pt x="3295941" y="4930787"/>
                </a:lnTo>
                <a:lnTo>
                  <a:pt x="3330068" y="4930787"/>
                </a:lnTo>
                <a:cubicBezTo>
                  <a:pt x="3345680" y="4930787"/>
                  <a:pt x="3355460" y="4929828"/>
                  <a:pt x="3359017" y="4920373"/>
                </a:cubicBezTo>
                <a:cubicBezTo>
                  <a:pt x="3360757" y="4915763"/>
                  <a:pt x="3360732" y="4910994"/>
                  <a:pt x="3356513" y="4906283"/>
                </a:cubicBezTo>
                <a:cubicBezTo>
                  <a:pt x="3354373" y="4903886"/>
                  <a:pt x="3351198" y="4901774"/>
                  <a:pt x="3346818" y="4899335"/>
                </a:cubicBezTo>
                <a:cubicBezTo>
                  <a:pt x="3327326" y="4888407"/>
                  <a:pt x="3322224" y="4887146"/>
                  <a:pt x="3323472" y="4881854"/>
                </a:cubicBezTo>
                <a:cubicBezTo>
                  <a:pt x="3324151" y="4878877"/>
                  <a:pt x="3326239" y="4878767"/>
                  <a:pt x="3333574" y="4878767"/>
                </a:cubicBezTo>
                <a:lnTo>
                  <a:pt x="3356462" y="4878767"/>
                </a:lnTo>
                <a:cubicBezTo>
                  <a:pt x="3359535" y="4878767"/>
                  <a:pt x="3361318" y="4877514"/>
                  <a:pt x="3361853" y="4874797"/>
                </a:cubicBezTo>
                <a:lnTo>
                  <a:pt x="3362990" y="4869051"/>
                </a:lnTo>
                <a:close/>
                <a:moveTo>
                  <a:pt x="2952612" y="4869051"/>
                </a:moveTo>
                <a:cubicBezTo>
                  <a:pt x="2936210" y="4869051"/>
                  <a:pt x="2926371" y="4869152"/>
                  <a:pt x="2923866" y="4880811"/>
                </a:cubicBezTo>
                <a:cubicBezTo>
                  <a:pt x="2922016" y="4889476"/>
                  <a:pt x="2928850" y="4893665"/>
                  <a:pt x="2942738" y="4902212"/>
                </a:cubicBezTo>
                <a:cubicBezTo>
                  <a:pt x="2957943" y="4911549"/>
                  <a:pt x="2961415" y="4912264"/>
                  <a:pt x="2960006" y="4917185"/>
                </a:cubicBezTo>
                <a:cubicBezTo>
                  <a:pt x="2958877" y="4921155"/>
                  <a:pt x="2954895" y="4921315"/>
                  <a:pt x="2948061" y="4921315"/>
                </a:cubicBezTo>
                <a:lnTo>
                  <a:pt x="2920997" y="4921315"/>
                </a:lnTo>
                <a:cubicBezTo>
                  <a:pt x="2917924" y="4921315"/>
                  <a:pt x="2916133" y="4922577"/>
                  <a:pt x="2915598" y="4925294"/>
                </a:cubicBezTo>
                <a:lnTo>
                  <a:pt x="2914520" y="4930787"/>
                </a:lnTo>
                <a:lnTo>
                  <a:pt x="2948647" y="4930787"/>
                </a:lnTo>
                <a:cubicBezTo>
                  <a:pt x="2964268" y="4930787"/>
                  <a:pt x="2974047" y="4929828"/>
                  <a:pt x="2977596" y="4920373"/>
                </a:cubicBezTo>
                <a:cubicBezTo>
                  <a:pt x="2979345" y="4915763"/>
                  <a:pt x="2979328" y="4910994"/>
                  <a:pt x="2975108" y="4906283"/>
                </a:cubicBezTo>
                <a:cubicBezTo>
                  <a:pt x="2972952" y="4903886"/>
                  <a:pt x="2969794" y="4901774"/>
                  <a:pt x="2965405" y="4899335"/>
                </a:cubicBezTo>
                <a:cubicBezTo>
                  <a:pt x="2945905" y="4888407"/>
                  <a:pt x="2940820" y="4887146"/>
                  <a:pt x="2942051" y="4881854"/>
                </a:cubicBezTo>
                <a:cubicBezTo>
                  <a:pt x="2942730" y="4878877"/>
                  <a:pt x="2944810" y="4878767"/>
                  <a:pt x="2952153" y="4878767"/>
                </a:cubicBezTo>
                <a:lnTo>
                  <a:pt x="2975049" y="4878767"/>
                </a:lnTo>
                <a:cubicBezTo>
                  <a:pt x="2978114" y="4878767"/>
                  <a:pt x="2979914" y="4877514"/>
                  <a:pt x="2980440" y="4874797"/>
                </a:cubicBezTo>
                <a:lnTo>
                  <a:pt x="2981577" y="4869051"/>
                </a:lnTo>
                <a:close/>
                <a:moveTo>
                  <a:pt x="2802111" y="4869051"/>
                </a:moveTo>
                <a:cubicBezTo>
                  <a:pt x="2785710" y="4869051"/>
                  <a:pt x="2775862" y="4869152"/>
                  <a:pt x="2773366" y="4880811"/>
                </a:cubicBezTo>
                <a:cubicBezTo>
                  <a:pt x="2771498" y="4889476"/>
                  <a:pt x="2778349" y="4893665"/>
                  <a:pt x="2792246" y="4902212"/>
                </a:cubicBezTo>
                <a:cubicBezTo>
                  <a:pt x="2807434" y="4911549"/>
                  <a:pt x="2810906" y="4912264"/>
                  <a:pt x="2809505" y="4917185"/>
                </a:cubicBezTo>
                <a:cubicBezTo>
                  <a:pt x="2808385" y="4921155"/>
                  <a:pt x="2804403" y="4921315"/>
                  <a:pt x="2797561" y="4921315"/>
                </a:cubicBezTo>
                <a:lnTo>
                  <a:pt x="2770488" y="4921315"/>
                </a:lnTo>
                <a:cubicBezTo>
                  <a:pt x="2767415" y="4921315"/>
                  <a:pt x="2765632" y="4922577"/>
                  <a:pt x="2765097" y="4925294"/>
                </a:cubicBezTo>
                <a:lnTo>
                  <a:pt x="2764011" y="4930787"/>
                </a:lnTo>
                <a:lnTo>
                  <a:pt x="2798138" y="4930787"/>
                </a:lnTo>
                <a:cubicBezTo>
                  <a:pt x="2813759" y="4930787"/>
                  <a:pt x="2823547" y="4929828"/>
                  <a:pt x="2827104" y="4920373"/>
                </a:cubicBezTo>
                <a:cubicBezTo>
                  <a:pt x="2828827" y="4915763"/>
                  <a:pt x="2828810" y="4910994"/>
                  <a:pt x="2824600" y="4906283"/>
                </a:cubicBezTo>
                <a:cubicBezTo>
                  <a:pt x="2822452" y="4903886"/>
                  <a:pt x="2819277" y="4901774"/>
                  <a:pt x="2814913" y="4899335"/>
                </a:cubicBezTo>
                <a:cubicBezTo>
                  <a:pt x="2795404" y="4888407"/>
                  <a:pt x="2790311" y="4887146"/>
                  <a:pt x="2791542" y="4881854"/>
                </a:cubicBezTo>
                <a:cubicBezTo>
                  <a:pt x="2792238" y="4878877"/>
                  <a:pt x="2794318" y="4878767"/>
                  <a:pt x="2801644" y="4878767"/>
                </a:cubicBezTo>
                <a:lnTo>
                  <a:pt x="2824532" y="4878767"/>
                </a:lnTo>
                <a:cubicBezTo>
                  <a:pt x="2827613" y="4878767"/>
                  <a:pt x="2829405" y="4877514"/>
                  <a:pt x="2829939" y="4874797"/>
                </a:cubicBezTo>
                <a:lnTo>
                  <a:pt x="2831060" y="4869051"/>
                </a:lnTo>
                <a:close/>
                <a:moveTo>
                  <a:pt x="2554594" y="4818697"/>
                </a:moveTo>
                <a:cubicBezTo>
                  <a:pt x="2536545" y="4819757"/>
                  <a:pt x="2505499" y="4826092"/>
                  <a:pt x="2506679" y="4832401"/>
                </a:cubicBezTo>
                <a:cubicBezTo>
                  <a:pt x="2507766" y="4839231"/>
                  <a:pt x="2527427" y="4837128"/>
                  <a:pt x="2536426" y="4837128"/>
                </a:cubicBezTo>
                <a:cubicBezTo>
                  <a:pt x="2556215" y="4837128"/>
                  <a:pt x="2587643" y="4838466"/>
                  <a:pt x="2592592" y="4852573"/>
                </a:cubicBezTo>
                <a:cubicBezTo>
                  <a:pt x="2603263" y="4882957"/>
                  <a:pt x="2530883" y="4937517"/>
                  <a:pt x="2515457" y="4932277"/>
                </a:cubicBezTo>
                <a:cubicBezTo>
                  <a:pt x="2508479" y="4929904"/>
                  <a:pt x="2529635" y="4890250"/>
                  <a:pt x="2537318" y="4875983"/>
                </a:cubicBezTo>
                <a:cubicBezTo>
                  <a:pt x="2541885" y="4867470"/>
                  <a:pt x="2548838" y="4854095"/>
                  <a:pt x="2542895" y="4853187"/>
                </a:cubicBezTo>
                <a:cubicBezTo>
                  <a:pt x="2536273" y="4852186"/>
                  <a:pt x="2528956" y="4864770"/>
                  <a:pt x="2524218" y="4872030"/>
                </a:cubicBezTo>
                <a:cubicBezTo>
                  <a:pt x="2511349" y="4891756"/>
                  <a:pt x="2498147" y="4913291"/>
                  <a:pt x="2487578" y="4935414"/>
                </a:cubicBezTo>
                <a:cubicBezTo>
                  <a:pt x="2484310" y="4942245"/>
                  <a:pt x="2473452" y="4962829"/>
                  <a:pt x="2477187" y="4965487"/>
                </a:cubicBezTo>
                <a:cubicBezTo>
                  <a:pt x="2480668" y="4967960"/>
                  <a:pt x="2497205" y="4964436"/>
                  <a:pt x="2518259" y="4955216"/>
                </a:cubicBezTo>
                <a:cubicBezTo>
                  <a:pt x="2584451" y="4926220"/>
                  <a:pt x="2614249" y="4888484"/>
                  <a:pt x="2622229" y="4857300"/>
                </a:cubicBezTo>
                <a:cubicBezTo>
                  <a:pt x="2624773" y="4847711"/>
                  <a:pt x="2621259" y="4837546"/>
                  <a:pt x="2613315" y="4831517"/>
                </a:cubicBezTo>
                <a:cubicBezTo>
                  <a:pt x="2599486" y="4821027"/>
                  <a:pt x="2574866" y="4817520"/>
                  <a:pt x="2554594" y="4818697"/>
                </a:cubicBezTo>
                <a:close/>
                <a:moveTo>
                  <a:pt x="3137129" y="4793385"/>
                </a:moveTo>
                <a:cubicBezTo>
                  <a:pt x="3150449" y="4793385"/>
                  <a:pt x="3153930" y="4798340"/>
                  <a:pt x="3151773" y="4809730"/>
                </a:cubicBezTo>
                <a:cubicBezTo>
                  <a:pt x="3151773" y="4809730"/>
                  <a:pt x="3151230" y="4812573"/>
                  <a:pt x="3151035" y="4813431"/>
                </a:cubicBezTo>
                <a:cubicBezTo>
                  <a:pt x="3150772" y="4814710"/>
                  <a:pt x="3150186" y="4818016"/>
                  <a:pt x="3146739" y="4818016"/>
                </a:cubicBezTo>
                <a:lnTo>
                  <a:pt x="3113512" y="4818016"/>
                </a:lnTo>
                <a:lnTo>
                  <a:pt x="3115142" y="4809730"/>
                </a:lnTo>
                <a:cubicBezTo>
                  <a:pt x="3117485" y="4797734"/>
                  <a:pt x="3124531" y="4793385"/>
                  <a:pt x="3137129" y="4793385"/>
                </a:cubicBezTo>
                <a:close/>
                <a:moveTo>
                  <a:pt x="2908772" y="4793385"/>
                </a:moveTo>
                <a:cubicBezTo>
                  <a:pt x="2922084" y="4793385"/>
                  <a:pt x="2925581" y="4798340"/>
                  <a:pt x="2923408" y="4809730"/>
                </a:cubicBezTo>
                <a:cubicBezTo>
                  <a:pt x="2923408" y="4809730"/>
                  <a:pt x="2922865" y="4812573"/>
                  <a:pt x="2922678" y="4813431"/>
                </a:cubicBezTo>
                <a:cubicBezTo>
                  <a:pt x="2922423" y="4814710"/>
                  <a:pt x="2921829" y="4818016"/>
                  <a:pt x="2918374" y="4818016"/>
                </a:cubicBezTo>
                <a:lnTo>
                  <a:pt x="2885163" y="4818016"/>
                </a:lnTo>
                <a:lnTo>
                  <a:pt x="2886785" y="4809730"/>
                </a:lnTo>
                <a:cubicBezTo>
                  <a:pt x="2889111" y="4797734"/>
                  <a:pt x="2896174" y="4793385"/>
                  <a:pt x="2908772" y="4793385"/>
                </a:cubicBezTo>
                <a:close/>
                <a:moveTo>
                  <a:pt x="2671715" y="4783926"/>
                </a:moveTo>
                <a:cubicBezTo>
                  <a:pt x="2657863" y="4785815"/>
                  <a:pt x="2645049" y="4790925"/>
                  <a:pt x="2638520" y="4801898"/>
                </a:cubicBezTo>
                <a:cubicBezTo>
                  <a:pt x="2628435" y="4818857"/>
                  <a:pt x="2647502" y="4842074"/>
                  <a:pt x="2664854" y="4864568"/>
                </a:cubicBezTo>
                <a:cubicBezTo>
                  <a:pt x="2678768" y="4882595"/>
                  <a:pt x="2693922" y="4899814"/>
                  <a:pt x="2687733" y="4909866"/>
                </a:cubicBezTo>
                <a:cubicBezTo>
                  <a:pt x="2682690" y="4918085"/>
                  <a:pt x="2650320" y="4918068"/>
                  <a:pt x="2639174" y="4918716"/>
                </a:cubicBezTo>
                <a:cubicBezTo>
                  <a:pt x="2625633" y="4919515"/>
                  <a:pt x="2606150" y="4919557"/>
                  <a:pt x="2602737" y="4921576"/>
                </a:cubicBezTo>
                <a:cubicBezTo>
                  <a:pt x="2599681" y="4923385"/>
                  <a:pt x="2597983" y="4928995"/>
                  <a:pt x="2609444" y="4931233"/>
                </a:cubicBezTo>
                <a:cubicBezTo>
                  <a:pt x="2618638" y="4933050"/>
                  <a:pt x="2640540" y="4936718"/>
                  <a:pt x="2663666" y="4936701"/>
                </a:cubicBezTo>
                <a:cubicBezTo>
                  <a:pt x="2687801" y="4936692"/>
                  <a:pt x="2713150" y="4932360"/>
                  <a:pt x="2718643" y="4911877"/>
                </a:cubicBezTo>
                <a:cubicBezTo>
                  <a:pt x="2723058" y="4895423"/>
                  <a:pt x="2707751" y="4877791"/>
                  <a:pt x="2694278" y="4859916"/>
                </a:cubicBezTo>
                <a:cubicBezTo>
                  <a:pt x="2679524" y="4840333"/>
                  <a:pt x="2664599" y="4826377"/>
                  <a:pt x="2665856" y="4812506"/>
                </a:cubicBezTo>
                <a:cubicBezTo>
                  <a:pt x="2666824" y="4801730"/>
                  <a:pt x="2686120" y="4801107"/>
                  <a:pt x="2718125" y="4800493"/>
                </a:cubicBezTo>
                <a:cubicBezTo>
                  <a:pt x="2724798" y="4800350"/>
                  <a:pt x="2738041" y="4800005"/>
                  <a:pt x="2735495" y="4794235"/>
                </a:cubicBezTo>
                <a:cubicBezTo>
                  <a:pt x="2733211" y="4789154"/>
                  <a:pt x="2723295" y="4787463"/>
                  <a:pt x="2711130" y="4785284"/>
                </a:cubicBezTo>
                <a:cubicBezTo>
                  <a:pt x="2700455" y="4783371"/>
                  <a:pt x="2685566" y="4782037"/>
                  <a:pt x="2671715" y="4783926"/>
                </a:cubicBezTo>
                <a:close/>
                <a:moveTo>
                  <a:pt x="3324762" y="4783846"/>
                </a:moveTo>
                <a:cubicBezTo>
                  <a:pt x="3321681" y="4783846"/>
                  <a:pt x="3319949" y="4784889"/>
                  <a:pt x="3319490" y="4787194"/>
                </a:cubicBezTo>
                <a:lnTo>
                  <a:pt x="3318268" y="4793402"/>
                </a:lnTo>
                <a:lnTo>
                  <a:pt x="3342734" y="4793402"/>
                </a:lnTo>
                <a:lnTo>
                  <a:pt x="3332539" y="4845422"/>
                </a:lnTo>
                <a:lnTo>
                  <a:pt x="3343507" y="4845422"/>
                </a:lnTo>
                <a:cubicBezTo>
                  <a:pt x="3346597" y="4845422"/>
                  <a:pt x="3348388" y="4844169"/>
                  <a:pt x="3349000" y="4841048"/>
                </a:cubicBezTo>
                <a:lnTo>
                  <a:pt x="3358355" y="4793402"/>
                </a:lnTo>
                <a:lnTo>
                  <a:pt x="3378780" y="4793402"/>
                </a:lnTo>
                <a:cubicBezTo>
                  <a:pt x="3381667" y="4793402"/>
                  <a:pt x="3382686" y="4792140"/>
                  <a:pt x="3383195" y="4789633"/>
                </a:cubicBezTo>
                <a:lnTo>
                  <a:pt x="3384316" y="4783846"/>
                </a:lnTo>
                <a:close/>
                <a:moveTo>
                  <a:pt x="3274395" y="4783846"/>
                </a:moveTo>
                <a:lnTo>
                  <a:pt x="3262314" y="4845422"/>
                </a:lnTo>
                <a:lnTo>
                  <a:pt x="3314906" y="4845422"/>
                </a:lnTo>
                <a:lnTo>
                  <a:pt x="3316044" y="4839660"/>
                </a:lnTo>
                <a:cubicBezTo>
                  <a:pt x="3316578" y="4836968"/>
                  <a:pt x="3315619" y="4835916"/>
                  <a:pt x="3313123" y="4835916"/>
                </a:cubicBezTo>
                <a:lnTo>
                  <a:pt x="3279785" y="4835916"/>
                </a:lnTo>
                <a:lnTo>
                  <a:pt x="3289599" y="4785932"/>
                </a:lnTo>
                <a:cubicBezTo>
                  <a:pt x="3289794" y="4784889"/>
                  <a:pt x="3289030" y="4783846"/>
                  <a:pt x="3287689" y="4783846"/>
                </a:cubicBezTo>
                <a:close/>
                <a:moveTo>
                  <a:pt x="3190706" y="4783846"/>
                </a:moveTo>
                <a:cubicBezTo>
                  <a:pt x="3189093" y="4783846"/>
                  <a:pt x="3187582" y="4784477"/>
                  <a:pt x="3187174" y="4786580"/>
                </a:cubicBezTo>
                <a:lnTo>
                  <a:pt x="3181062" y="4817948"/>
                </a:lnTo>
                <a:cubicBezTo>
                  <a:pt x="3176894" y="4840063"/>
                  <a:pt x="3187998" y="4846801"/>
                  <a:pt x="3209943" y="4846801"/>
                </a:cubicBezTo>
                <a:lnTo>
                  <a:pt x="3209943" y="4846793"/>
                </a:lnTo>
                <a:cubicBezTo>
                  <a:pt x="3235649" y="4846793"/>
                  <a:pt x="3245556" y="4838078"/>
                  <a:pt x="3249622" y="4817940"/>
                </a:cubicBezTo>
                <a:lnTo>
                  <a:pt x="3255709" y="4786580"/>
                </a:lnTo>
                <a:cubicBezTo>
                  <a:pt x="3256117" y="4784477"/>
                  <a:pt x="3254852" y="4783846"/>
                  <a:pt x="3253247" y="4783846"/>
                </a:cubicBezTo>
                <a:lnTo>
                  <a:pt x="3240810" y="4783846"/>
                </a:lnTo>
                <a:lnTo>
                  <a:pt x="3237398" y="4801890"/>
                </a:lnTo>
                <a:lnTo>
                  <a:pt x="3235445" y="4811496"/>
                </a:lnTo>
                <a:lnTo>
                  <a:pt x="3233815" y="4819841"/>
                </a:lnTo>
                <a:cubicBezTo>
                  <a:pt x="3231540" y="4831206"/>
                  <a:pt x="3224112" y="4836329"/>
                  <a:pt x="3211522" y="4836329"/>
                </a:cubicBezTo>
                <a:cubicBezTo>
                  <a:pt x="3197676" y="4836329"/>
                  <a:pt x="3193966" y="4831332"/>
                  <a:pt x="3196139" y="4819841"/>
                </a:cubicBezTo>
                <a:cubicBezTo>
                  <a:pt x="3196139" y="4819841"/>
                  <a:pt x="3196674" y="4816972"/>
                  <a:pt x="3196852" y="4816114"/>
                </a:cubicBezTo>
                <a:lnTo>
                  <a:pt x="3199722" y="4801898"/>
                </a:lnTo>
                <a:lnTo>
                  <a:pt x="3203143" y="4783846"/>
                </a:lnTo>
                <a:close/>
                <a:moveTo>
                  <a:pt x="2786677" y="4783846"/>
                </a:moveTo>
                <a:lnTo>
                  <a:pt x="2786491" y="4784645"/>
                </a:lnTo>
                <a:cubicBezTo>
                  <a:pt x="2785489" y="4788784"/>
                  <a:pt x="2786015" y="4793360"/>
                  <a:pt x="2793053" y="4793360"/>
                </a:cubicBezTo>
                <a:lnTo>
                  <a:pt x="2825415" y="4793360"/>
                </a:lnTo>
                <a:cubicBezTo>
                  <a:pt x="2840984" y="4793360"/>
                  <a:pt x="2843208" y="4801074"/>
                  <a:pt x="2840101" y="4814659"/>
                </a:cubicBezTo>
                <a:cubicBezTo>
                  <a:pt x="2837045" y="4828001"/>
                  <a:pt x="2831722" y="4834865"/>
                  <a:pt x="2820032" y="4835916"/>
                </a:cubicBezTo>
                <a:lnTo>
                  <a:pt x="2797866" y="4835916"/>
                </a:lnTo>
                <a:lnTo>
                  <a:pt x="2804709" y="4800964"/>
                </a:lnTo>
                <a:lnTo>
                  <a:pt x="2791610" y="4800964"/>
                </a:lnTo>
                <a:cubicBezTo>
                  <a:pt x="2790065" y="4800964"/>
                  <a:pt x="2788902" y="4802007"/>
                  <a:pt x="2788698" y="4803051"/>
                </a:cubicBezTo>
                <a:lnTo>
                  <a:pt x="2780378" y="4845422"/>
                </a:lnTo>
                <a:lnTo>
                  <a:pt x="2817188" y="4845422"/>
                </a:lnTo>
                <a:cubicBezTo>
                  <a:pt x="2837809" y="4845422"/>
                  <a:pt x="2852097" y="4837834"/>
                  <a:pt x="2856562" y="4814239"/>
                </a:cubicBezTo>
                <a:cubicBezTo>
                  <a:pt x="2859882" y="4796674"/>
                  <a:pt x="2852207" y="4783846"/>
                  <a:pt x="2831196" y="4783846"/>
                </a:cubicBezTo>
                <a:close/>
                <a:moveTo>
                  <a:pt x="3055062" y="4783661"/>
                </a:moveTo>
                <a:cubicBezTo>
                  <a:pt x="3038660" y="4783661"/>
                  <a:pt x="3028813" y="4783762"/>
                  <a:pt x="3026300" y="4795438"/>
                </a:cubicBezTo>
                <a:cubicBezTo>
                  <a:pt x="3024458" y="4804094"/>
                  <a:pt x="3031300" y="4808291"/>
                  <a:pt x="3045180" y="4816838"/>
                </a:cubicBezTo>
                <a:cubicBezTo>
                  <a:pt x="3060376" y="4826175"/>
                  <a:pt x="3063848" y="4826882"/>
                  <a:pt x="3062456" y="4831820"/>
                </a:cubicBezTo>
                <a:cubicBezTo>
                  <a:pt x="3061327" y="4835790"/>
                  <a:pt x="3057346" y="4835942"/>
                  <a:pt x="3050512" y="4835942"/>
                </a:cubicBezTo>
                <a:lnTo>
                  <a:pt x="3023447" y="4835942"/>
                </a:lnTo>
                <a:cubicBezTo>
                  <a:pt x="3020366" y="4835942"/>
                  <a:pt x="3018574" y="4837203"/>
                  <a:pt x="3018040" y="4839920"/>
                </a:cubicBezTo>
                <a:lnTo>
                  <a:pt x="3016970" y="4845422"/>
                </a:lnTo>
                <a:lnTo>
                  <a:pt x="3051097" y="4845422"/>
                </a:lnTo>
                <a:cubicBezTo>
                  <a:pt x="3066701" y="4845422"/>
                  <a:pt x="3076506" y="4844471"/>
                  <a:pt x="3080055" y="4834999"/>
                </a:cubicBezTo>
                <a:lnTo>
                  <a:pt x="3080063" y="4834999"/>
                </a:lnTo>
                <a:cubicBezTo>
                  <a:pt x="3081795" y="4830381"/>
                  <a:pt x="3081778" y="4825612"/>
                  <a:pt x="3077559" y="4820909"/>
                </a:cubicBezTo>
                <a:cubicBezTo>
                  <a:pt x="3075411" y="4818503"/>
                  <a:pt x="3072244" y="4816409"/>
                  <a:pt x="3067864" y="4813944"/>
                </a:cubicBezTo>
                <a:cubicBezTo>
                  <a:pt x="3048364" y="4803017"/>
                  <a:pt x="3043270" y="4801772"/>
                  <a:pt x="3044493" y="4796481"/>
                </a:cubicBezTo>
                <a:cubicBezTo>
                  <a:pt x="3045189" y="4793511"/>
                  <a:pt x="3047277" y="4793385"/>
                  <a:pt x="3054620" y="4793385"/>
                </a:cubicBezTo>
                <a:lnTo>
                  <a:pt x="3077491" y="4793385"/>
                </a:lnTo>
                <a:cubicBezTo>
                  <a:pt x="3080573" y="4793385"/>
                  <a:pt x="3082364" y="4792140"/>
                  <a:pt x="3082899" y="4789431"/>
                </a:cubicBezTo>
                <a:lnTo>
                  <a:pt x="3084028" y="4783661"/>
                </a:lnTo>
                <a:close/>
                <a:moveTo>
                  <a:pt x="2982358" y="4783661"/>
                </a:moveTo>
                <a:cubicBezTo>
                  <a:pt x="2965957" y="4783661"/>
                  <a:pt x="2956118" y="4783762"/>
                  <a:pt x="2953613" y="4795438"/>
                </a:cubicBezTo>
                <a:cubicBezTo>
                  <a:pt x="2951754" y="4804094"/>
                  <a:pt x="2958605" y="4808291"/>
                  <a:pt x="2972485" y="4816838"/>
                </a:cubicBezTo>
                <a:cubicBezTo>
                  <a:pt x="2987681" y="4826175"/>
                  <a:pt x="2991162" y="4826882"/>
                  <a:pt x="2989761" y="4831820"/>
                </a:cubicBezTo>
                <a:cubicBezTo>
                  <a:pt x="2988641" y="4835790"/>
                  <a:pt x="2984651" y="4835942"/>
                  <a:pt x="2977800" y="4835942"/>
                </a:cubicBezTo>
                <a:lnTo>
                  <a:pt x="2950761" y="4835942"/>
                </a:lnTo>
                <a:cubicBezTo>
                  <a:pt x="2947671" y="4835942"/>
                  <a:pt x="2945888" y="4837203"/>
                  <a:pt x="2945345" y="4839920"/>
                </a:cubicBezTo>
                <a:lnTo>
                  <a:pt x="2944266" y="4845422"/>
                </a:lnTo>
                <a:lnTo>
                  <a:pt x="2978394" y="4845422"/>
                </a:lnTo>
                <a:cubicBezTo>
                  <a:pt x="2994014" y="4845422"/>
                  <a:pt x="3003803" y="4844471"/>
                  <a:pt x="3007360" y="4834999"/>
                </a:cubicBezTo>
                <a:cubicBezTo>
                  <a:pt x="3009083" y="4830381"/>
                  <a:pt x="3009066" y="4825612"/>
                  <a:pt x="3004855" y="4820909"/>
                </a:cubicBezTo>
                <a:cubicBezTo>
                  <a:pt x="3002699" y="4818503"/>
                  <a:pt x="2999533" y="4816409"/>
                  <a:pt x="2995161" y="4813944"/>
                </a:cubicBezTo>
                <a:cubicBezTo>
                  <a:pt x="2975643" y="4803017"/>
                  <a:pt x="2970567" y="4801772"/>
                  <a:pt x="2971798" y="4796481"/>
                </a:cubicBezTo>
                <a:cubicBezTo>
                  <a:pt x="2972477" y="4793511"/>
                  <a:pt x="2974557" y="4793385"/>
                  <a:pt x="2981917" y="4793385"/>
                </a:cubicBezTo>
                <a:lnTo>
                  <a:pt x="3004779" y="4793385"/>
                </a:lnTo>
                <a:cubicBezTo>
                  <a:pt x="3007869" y="4793385"/>
                  <a:pt x="3009660" y="4792140"/>
                  <a:pt x="3010178" y="4789431"/>
                </a:cubicBezTo>
                <a:lnTo>
                  <a:pt x="3011324" y="4783661"/>
                </a:lnTo>
                <a:close/>
                <a:moveTo>
                  <a:pt x="3138963" y="4783013"/>
                </a:moveTo>
                <a:cubicBezTo>
                  <a:pt x="3117247" y="4783013"/>
                  <a:pt x="3104861" y="4788414"/>
                  <a:pt x="3100124" y="4811614"/>
                </a:cubicBezTo>
                <a:lnTo>
                  <a:pt x="3094028" y="4842705"/>
                </a:lnTo>
                <a:cubicBezTo>
                  <a:pt x="3093621" y="4844791"/>
                  <a:pt x="3094835" y="4845422"/>
                  <a:pt x="3096388" y="4845422"/>
                </a:cubicBezTo>
                <a:lnTo>
                  <a:pt x="3108138" y="4845422"/>
                </a:lnTo>
                <a:lnTo>
                  <a:pt x="3111567" y="4827521"/>
                </a:lnTo>
                <a:lnTo>
                  <a:pt x="3148174" y="4827521"/>
                </a:lnTo>
                <a:lnTo>
                  <a:pt x="3144753" y="4845422"/>
                </a:lnTo>
                <a:lnTo>
                  <a:pt x="3156510" y="4845422"/>
                </a:lnTo>
                <a:cubicBezTo>
                  <a:pt x="3158056" y="4845422"/>
                  <a:pt x="3159524" y="4844791"/>
                  <a:pt x="3159932" y="4842705"/>
                </a:cubicBezTo>
                <a:lnTo>
                  <a:pt x="3166036" y="4811614"/>
                </a:lnTo>
                <a:cubicBezTo>
                  <a:pt x="3170535" y="4788027"/>
                  <a:pt x="3157088" y="4783013"/>
                  <a:pt x="3138963" y="4783013"/>
                </a:cubicBezTo>
                <a:close/>
                <a:moveTo>
                  <a:pt x="2910597" y="4783013"/>
                </a:moveTo>
                <a:cubicBezTo>
                  <a:pt x="2888890" y="4783013"/>
                  <a:pt x="2876504" y="4788414"/>
                  <a:pt x="2871775" y="4811614"/>
                </a:cubicBezTo>
                <a:lnTo>
                  <a:pt x="2865663" y="4842705"/>
                </a:lnTo>
                <a:cubicBezTo>
                  <a:pt x="2865264" y="4844791"/>
                  <a:pt x="2866478" y="4845422"/>
                  <a:pt x="2868031" y="4845422"/>
                </a:cubicBezTo>
                <a:lnTo>
                  <a:pt x="2879781" y="4845422"/>
                </a:lnTo>
                <a:lnTo>
                  <a:pt x="2883202" y="4827521"/>
                </a:lnTo>
                <a:lnTo>
                  <a:pt x="2919817" y="4827521"/>
                </a:lnTo>
                <a:lnTo>
                  <a:pt x="2916396" y="4845422"/>
                </a:lnTo>
                <a:lnTo>
                  <a:pt x="2928154" y="4845422"/>
                </a:lnTo>
                <a:cubicBezTo>
                  <a:pt x="2929699" y="4845422"/>
                  <a:pt x="2931167" y="4844791"/>
                  <a:pt x="2931566" y="4842705"/>
                </a:cubicBezTo>
                <a:lnTo>
                  <a:pt x="2937679" y="4811614"/>
                </a:lnTo>
                <a:cubicBezTo>
                  <a:pt x="2942170" y="4788027"/>
                  <a:pt x="2928722" y="4783013"/>
                  <a:pt x="2910597" y="4783013"/>
                </a:cubicBezTo>
                <a:close/>
                <a:moveTo>
                  <a:pt x="2604596" y="4694494"/>
                </a:moveTo>
                <a:lnTo>
                  <a:pt x="2604596" y="4694502"/>
                </a:lnTo>
                <a:cubicBezTo>
                  <a:pt x="2581132" y="4695596"/>
                  <a:pt x="2559730" y="4701543"/>
                  <a:pt x="2561063" y="4706111"/>
                </a:cubicBezTo>
                <a:cubicBezTo>
                  <a:pt x="2562701" y="4711671"/>
                  <a:pt x="2578644" y="4710283"/>
                  <a:pt x="2584714" y="4710283"/>
                </a:cubicBezTo>
                <a:cubicBezTo>
                  <a:pt x="2607067" y="4710283"/>
                  <a:pt x="2628596" y="4714624"/>
                  <a:pt x="2633732" y="4720882"/>
                </a:cubicBezTo>
                <a:cubicBezTo>
                  <a:pt x="2641755" y="4730657"/>
                  <a:pt x="2627942" y="4754766"/>
                  <a:pt x="2585478" y="4787632"/>
                </a:cubicBezTo>
                <a:cubicBezTo>
                  <a:pt x="2577337" y="4793932"/>
                  <a:pt x="2571258" y="4799737"/>
                  <a:pt x="2569909" y="4802588"/>
                </a:cubicBezTo>
                <a:cubicBezTo>
                  <a:pt x="2569187" y="4804102"/>
                  <a:pt x="2569527" y="4806306"/>
                  <a:pt x="2571759" y="4806609"/>
                </a:cubicBezTo>
                <a:cubicBezTo>
                  <a:pt x="2574094" y="4806937"/>
                  <a:pt x="2579697" y="4805633"/>
                  <a:pt x="2588942" y="4800881"/>
                </a:cubicBezTo>
                <a:cubicBezTo>
                  <a:pt x="2626669" y="4781491"/>
                  <a:pt x="2669956" y="4741996"/>
                  <a:pt x="2661416" y="4714910"/>
                </a:cubicBezTo>
                <a:cubicBezTo>
                  <a:pt x="2656212" y="4698380"/>
                  <a:pt x="2628239" y="4693392"/>
                  <a:pt x="2604596" y="4694494"/>
                </a:cubicBezTo>
                <a:close/>
                <a:moveTo>
                  <a:pt x="893329" y="0"/>
                </a:moveTo>
                <a:lnTo>
                  <a:pt x="3717682" y="0"/>
                </a:lnTo>
                <a:lnTo>
                  <a:pt x="3717682" y="5143499"/>
                </a:lnTo>
                <a:lnTo>
                  <a:pt x="1175798" y="5143499"/>
                </a:lnTo>
                <a:lnTo>
                  <a:pt x="1096714" y="5071623"/>
                </a:lnTo>
                <a:cubicBezTo>
                  <a:pt x="419108" y="4394017"/>
                  <a:pt x="0" y="3457913"/>
                  <a:pt x="0" y="2423921"/>
                </a:cubicBezTo>
                <a:cubicBezTo>
                  <a:pt x="0" y="1519180"/>
                  <a:pt x="320880" y="689382"/>
                  <a:pt x="855043" y="42126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noProof="0" dirty="0"/>
              <a:t>Insert image</a:t>
            </a:r>
          </a:p>
        </p:txBody>
      </p:sp>
      <p:sp>
        <p:nvSpPr>
          <p:cNvPr id="5" name="Footer Placeholder 12">
            <a:extLst>
              <a:ext uri="{FF2B5EF4-FFF2-40B4-BE49-F238E27FC236}">
                <a16:creationId xmlns:a16="http://schemas.microsoft.com/office/drawing/2014/main" id="{029B08AE-6AE4-7583-0851-8C9E70E14C9F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</p:spTree>
    <p:extLst>
      <p:ext uri="{BB962C8B-B14F-4D97-AF65-F5344CB8AC3E}">
        <p14:creationId xmlns:p14="http://schemas.microsoft.com/office/powerpoint/2010/main" val="7988581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nly - 1 line title - no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ZoneTexte 7">
            <a:extLst>
              <a:ext uri="{FF2B5EF4-FFF2-40B4-BE49-F238E27FC236}">
                <a16:creationId xmlns:a16="http://schemas.microsoft.com/office/drawing/2014/main" id="{64F11E7F-0F44-6549-9AE8-64F85711DDF7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cxnSp>
        <p:nvCxnSpPr>
          <p:cNvPr id="39" name="Connecteur droit 8">
            <a:extLst>
              <a:ext uri="{FF2B5EF4-FFF2-40B4-BE49-F238E27FC236}">
                <a16:creationId xmlns:a16="http://schemas.microsoft.com/office/drawing/2014/main" id="{9EA78508-74E4-44FE-9897-5877052FD886}"/>
              </a:ext>
            </a:extLst>
          </p:cNvPr>
          <p:cNvCxnSpPr>
            <a:cxnSpLocks/>
          </p:cNvCxnSpPr>
          <p:nvPr/>
        </p:nvCxnSpPr>
        <p:spPr>
          <a:xfrm>
            <a:off x="177217" y="321750"/>
            <a:ext cx="0" cy="45000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6883A8A-F009-4948-A684-D17FAEFCAA68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2904" y="854927"/>
            <a:ext cx="8378827" cy="3704378"/>
          </a:xfrm>
          <a:custGeom>
            <a:avLst/>
            <a:gdLst>
              <a:gd name="connsiteX0" fmla="*/ 0 w 8200800"/>
              <a:gd name="connsiteY0" fmla="*/ 0 h 3258000"/>
              <a:gd name="connsiteX1" fmla="*/ 8200800 w 8200800"/>
              <a:gd name="connsiteY1" fmla="*/ 0 h 3258000"/>
              <a:gd name="connsiteX2" fmla="*/ 8200800 w 8200800"/>
              <a:gd name="connsiteY2" fmla="*/ 3258000 h 3258000"/>
              <a:gd name="connsiteX3" fmla="*/ 0 w 8200800"/>
              <a:gd name="connsiteY3" fmla="*/ 3258000 h 32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00800" h="3258000">
                <a:moveTo>
                  <a:pt x="0" y="0"/>
                </a:moveTo>
                <a:lnTo>
                  <a:pt x="8200800" y="0"/>
                </a:lnTo>
                <a:lnTo>
                  <a:pt x="8200800" y="3258000"/>
                </a:lnTo>
                <a:lnTo>
                  <a:pt x="0" y="3258000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>
            <a:lvl1pPr marL="172796" indent="-172796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200"/>
            </a:lvl1pPr>
            <a:lvl2pPr marL="345591" indent="-172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Char char="-"/>
              <a:defRPr sz="1100"/>
            </a:lvl2pPr>
            <a:lvl3pPr marL="518387" indent="-172796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Char char="▪"/>
              <a:defRPr sz="1000"/>
            </a:lvl3pPr>
            <a:lvl4pPr marL="691183" indent="-17279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800"/>
            </a:lvl4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6D764DEA-2EE2-D748-874A-A79D4731B33B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1E32A55F-8CB6-CA9B-52DC-B28AF6ADFE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937" y="312223"/>
            <a:ext cx="8377077" cy="32316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100000"/>
              </a:lnSpc>
              <a:defRPr lang="en-US" sz="2000" b="0" i="0" strike="noStrike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SLIDE TITLE</a:t>
            </a:r>
          </a:p>
        </p:txBody>
      </p:sp>
      <p:sp>
        <p:nvSpPr>
          <p:cNvPr id="6" name="Footer Placeholder 12">
            <a:extLst>
              <a:ext uri="{FF2B5EF4-FFF2-40B4-BE49-F238E27FC236}">
                <a16:creationId xmlns:a16="http://schemas.microsoft.com/office/drawing/2014/main" id="{A292207B-3FFA-E478-0A93-560335B8897B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</p:spTree>
    <p:extLst>
      <p:ext uri="{BB962C8B-B14F-4D97-AF65-F5344CB8AC3E}">
        <p14:creationId xmlns:p14="http://schemas.microsoft.com/office/powerpoint/2010/main" val="13171351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nly - 1 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12F92CC6-BE72-4384-8A84-F164B8B2DEF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2904" y="1301305"/>
            <a:ext cx="8378829" cy="3258000"/>
          </a:xfrm>
          <a:custGeom>
            <a:avLst/>
            <a:gdLst>
              <a:gd name="connsiteX0" fmla="*/ 0 w 8200800"/>
              <a:gd name="connsiteY0" fmla="*/ 0 h 3258000"/>
              <a:gd name="connsiteX1" fmla="*/ 8200800 w 8200800"/>
              <a:gd name="connsiteY1" fmla="*/ 0 h 3258000"/>
              <a:gd name="connsiteX2" fmla="*/ 8200800 w 8200800"/>
              <a:gd name="connsiteY2" fmla="*/ 3258000 h 3258000"/>
              <a:gd name="connsiteX3" fmla="*/ 0 w 8200800"/>
              <a:gd name="connsiteY3" fmla="*/ 3258000 h 32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00800" h="3258000">
                <a:moveTo>
                  <a:pt x="0" y="0"/>
                </a:moveTo>
                <a:lnTo>
                  <a:pt x="8200800" y="0"/>
                </a:lnTo>
                <a:lnTo>
                  <a:pt x="8200800" y="3258000"/>
                </a:lnTo>
                <a:lnTo>
                  <a:pt x="0" y="3258000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>
            <a:lvl1pPr marL="172796" indent="-172796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200"/>
            </a:lvl1pPr>
            <a:lvl2pPr marL="345591" indent="-172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Char char="-"/>
              <a:defRPr sz="1100"/>
            </a:lvl2pPr>
            <a:lvl3pPr marL="518387" indent="-172796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Char char="▪"/>
              <a:defRPr sz="1000"/>
            </a:lvl3pPr>
            <a:lvl4pPr marL="691183" indent="-17279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800"/>
            </a:lvl4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7909D851-A66D-48F5-9919-38BC246B83C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905" y="630182"/>
            <a:ext cx="8376668" cy="2769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kern="900" spc="0" baseline="0">
                <a:solidFill>
                  <a:schemeClr val="tx1"/>
                </a:solidFill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is is the slide subtitle</a:t>
            </a:r>
          </a:p>
        </p:txBody>
      </p:sp>
      <p:sp>
        <p:nvSpPr>
          <p:cNvPr id="11" name="ZoneTexte 7">
            <a:extLst>
              <a:ext uri="{FF2B5EF4-FFF2-40B4-BE49-F238E27FC236}">
                <a16:creationId xmlns:a16="http://schemas.microsoft.com/office/drawing/2014/main" id="{8AA81F04-A4CD-438D-89D0-CDBF79F7E0A6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cxnSp>
        <p:nvCxnSpPr>
          <p:cNvPr id="14" name="Connecteur droit 8">
            <a:extLst>
              <a:ext uri="{FF2B5EF4-FFF2-40B4-BE49-F238E27FC236}">
                <a16:creationId xmlns:a16="http://schemas.microsoft.com/office/drawing/2014/main" id="{21691B72-DFDE-477D-B4DC-13F5A4C2EC3F}"/>
              </a:ext>
            </a:extLst>
          </p:cNvPr>
          <p:cNvCxnSpPr>
            <a:cxnSpLocks/>
          </p:cNvCxnSpPr>
          <p:nvPr/>
        </p:nvCxnSpPr>
        <p:spPr>
          <a:xfrm>
            <a:off x="177217" y="321750"/>
            <a:ext cx="0" cy="45000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Image 9">
            <a:extLst>
              <a:ext uri="{FF2B5EF4-FFF2-40B4-BE49-F238E27FC236}">
                <a16:creationId xmlns:a16="http://schemas.microsoft.com/office/drawing/2014/main" id="{58E49FCF-D70B-7A41-82A8-6A6783DE8A72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4" name="Titre 1">
            <a:extLst>
              <a:ext uri="{FF2B5EF4-FFF2-40B4-BE49-F238E27FC236}">
                <a16:creationId xmlns:a16="http://schemas.microsoft.com/office/drawing/2014/main" id="{C4BCAD6A-99D5-8443-B1E3-8CF8D5BA97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938" y="312223"/>
            <a:ext cx="8377079" cy="32316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100000"/>
              </a:lnSpc>
              <a:defRPr lang="en-US" sz="2000" b="0" i="0" strike="noStrike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SLIDE TITLE</a:t>
            </a:r>
          </a:p>
        </p:txBody>
      </p:sp>
      <p:sp>
        <p:nvSpPr>
          <p:cNvPr id="6" name="Footer Placeholder 12">
            <a:extLst>
              <a:ext uri="{FF2B5EF4-FFF2-40B4-BE49-F238E27FC236}">
                <a16:creationId xmlns:a16="http://schemas.microsoft.com/office/drawing/2014/main" id="{6264D070-AAEA-490D-DC9F-50199A212400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</p:spTree>
    <p:extLst>
      <p:ext uri="{BB962C8B-B14F-4D97-AF65-F5344CB8AC3E}">
        <p14:creationId xmlns:p14="http://schemas.microsoft.com/office/powerpoint/2010/main" val="2751493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nly - 2 line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49B2912C-F696-4E45-AC04-94404691482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2904" y="1533107"/>
            <a:ext cx="8378830" cy="3038893"/>
          </a:xfrm>
          <a:custGeom>
            <a:avLst/>
            <a:gdLst>
              <a:gd name="connsiteX0" fmla="*/ 0 w 8200800"/>
              <a:gd name="connsiteY0" fmla="*/ 0 h 3038893"/>
              <a:gd name="connsiteX1" fmla="*/ 8200800 w 8200800"/>
              <a:gd name="connsiteY1" fmla="*/ 0 h 3038893"/>
              <a:gd name="connsiteX2" fmla="*/ 8200800 w 8200800"/>
              <a:gd name="connsiteY2" fmla="*/ 3038893 h 3038893"/>
              <a:gd name="connsiteX3" fmla="*/ 0 w 8200800"/>
              <a:gd name="connsiteY3" fmla="*/ 3038893 h 30388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00800" h="3038893">
                <a:moveTo>
                  <a:pt x="0" y="0"/>
                </a:moveTo>
                <a:lnTo>
                  <a:pt x="8200800" y="0"/>
                </a:lnTo>
                <a:lnTo>
                  <a:pt x="8200800" y="3038893"/>
                </a:lnTo>
                <a:lnTo>
                  <a:pt x="0" y="3038893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>
            <a:lvl1pPr marL="172796" indent="-172796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200"/>
            </a:lvl1pPr>
            <a:lvl2pPr marL="345591" indent="-172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Char char="-"/>
              <a:defRPr sz="1100"/>
            </a:lvl2pPr>
            <a:lvl3pPr marL="518387" indent="-172796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Char char="▪"/>
              <a:defRPr sz="1000"/>
            </a:lvl3pPr>
            <a:lvl4pPr marL="691183" indent="-17279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800"/>
            </a:lvl4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7909D851-A66D-48F5-9919-38BC246B83C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905" y="988138"/>
            <a:ext cx="8377114" cy="2769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kern="900" spc="0" baseline="0">
                <a:solidFill>
                  <a:schemeClr val="tx1"/>
                </a:solidFill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is is the slide subtitle</a:t>
            </a:r>
          </a:p>
        </p:txBody>
      </p:sp>
      <p:sp>
        <p:nvSpPr>
          <p:cNvPr id="10" name="ZoneTexte 7">
            <a:extLst>
              <a:ext uri="{FF2B5EF4-FFF2-40B4-BE49-F238E27FC236}">
                <a16:creationId xmlns:a16="http://schemas.microsoft.com/office/drawing/2014/main" id="{4BAD4DE2-1D10-4376-9B8C-69A7343C9951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cxnSp>
        <p:nvCxnSpPr>
          <p:cNvPr id="15" name="Connecteur droit 8">
            <a:extLst>
              <a:ext uri="{FF2B5EF4-FFF2-40B4-BE49-F238E27FC236}">
                <a16:creationId xmlns:a16="http://schemas.microsoft.com/office/drawing/2014/main" id="{A7E9C05A-4D57-4496-9472-379C50F46D3A}"/>
              </a:ext>
            </a:extLst>
          </p:cNvPr>
          <p:cNvCxnSpPr>
            <a:cxnSpLocks/>
          </p:cNvCxnSpPr>
          <p:nvPr/>
        </p:nvCxnSpPr>
        <p:spPr>
          <a:xfrm>
            <a:off x="177217" y="321750"/>
            <a:ext cx="0" cy="45000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age 10">
            <a:extLst>
              <a:ext uri="{FF2B5EF4-FFF2-40B4-BE49-F238E27FC236}">
                <a16:creationId xmlns:a16="http://schemas.microsoft.com/office/drawing/2014/main" id="{0ABBCB51-61A2-C142-8256-25264FD2B86E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12BEAB72-6758-8F17-3FDF-3F3B858C34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937" y="312223"/>
            <a:ext cx="8377080" cy="64633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lang="en-US" sz="2000" b="0" i="0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SLIDE TITLE</a:t>
            </a:r>
            <a:br>
              <a:rPr lang="en-US" noProof="0" dirty="0"/>
            </a:br>
            <a:r>
              <a:rPr lang="en-US" noProof="0" dirty="0"/>
              <a:t>IN 2 LINES</a:t>
            </a:r>
          </a:p>
        </p:txBody>
      </p:sp>
      <p:sp>
        <p:nvSpPr>
          <p:cNvPr id="6" name="Footer Placeholder 12">
            <a:extLst>
              <a:ext uri="{FF2B5EF4-FFF2-40B4-BE49-F238E27FC236}">
                <a16:creationId xmlns:a16="http://schemas.microsoft.com/office/drawing/2014/main" id="{45F09E75-69EA-B4C6-979D-2F0757A6E284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</p:spTree>
    <p:extLst>
      <p:ext uri="{BB962C8B-B14F-4D97-AF65-F5344CB8AC3E}">
        <p14:creationId xmlns:p14="http://schemas.microsoft.com/office/powerpoint/2010/main" val="37319020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- 1 line title V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7DDF75E6-2FA4-45BC-9D0C-27E2370C919F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2907" y="1129554"/>
            <a:ext cx="5497636" cy="3442447"/>
          </a:xfrm>
          <a:custGeom>
            <a:avLst/>
            <a:gdLst>
              <a:gd name="connsiteX0" fmla="*/ 0 w 5497636"/>
              <a:gd name="connsiteY0" fmla="*/ 0 h 3442447"/>
              <a:gd name="connsiteX1" fmla="*/ 5497636 w 5497636"/>
              <a:gd name="connsiteY1" fmla="*/ 0 h 3442447"/>
              <a:gd name="connsiteX2" fmla="*/ 5497636 w 5497636"/>
              <a:gd name="connsiteY2" fmla="*/ 3442447 h 3442447"/>
              <a:gd name="connsiteX3" fmla="*/ 0 w 5497636"/>
              <a:gd name="connsiteY3" fmla="*/ 3442447 h 3442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97636" h="3442447">
                <a:moveTo>
                  <a:pt x="0" y="0"/>
                </a:moveTo>
                <a:lnTo>
                  <a:pt x="5497636" y="0"/>
                </a:lnTo>
                <a:lnTo>
                  <a:pt x="5497636" y="3442447"/>
                </a:lnTo>
                <a:lnTo>
                  <a:pt x="0" y="3442447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>
            <a:lvl1pPr marL="172796" indent="-172796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200"/>
            </a:lvl1pPr>
            <a:lvl2pPr marL="345591" indent="-172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Char char="-"/>
              <a:defRPr sz="1100"/>
            </a:lvl2pPr>
            <a:lvl3pPr marL="518387" indent="-172796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Char char="▪"/>
              <a:defRPr sz="1000"/>
            </a:lvl3pPr>
            <a:lvl4pPr marL="691183" indent="-17279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800"/>
            </a:lvl4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11" name="ZoneTexte 7">
            <a:extLst>
              <a:ext uri="{FF2B5EF4-FFF2-40B4-BE49-F238E27FC236}">
                <a16:creationId xmlns:a16="http://schemas.microsoft.com/office/drawing/2014/main" id="{D5E28100-23B4-0C41-9F0D-D979777516FC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7DFB9808-374D-4A9D-8F58-FD27E9969A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906" y="630182"/>
            <a:ext cx="5497640" cy="2308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kern="900" spc="0" baseline="0">
                <a:solidFill>
                  <a:schemeClr val="tx1"/>
                </a:solidFill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is is the slide subtitle</a:t>
            </a:r>
          </a:p>
        </p:txBody>
      </p:sp>
      <p:cxnSp>
        <p:nvCxnSpPr>
          <p:cNvPr id="12" name="Connecteur droit 8">
            <a:extLst>
              <a:ext uri="{FF2B5EF4-FFF2-40B4-BE49-F238E27FC236}">
                <a16:creationId xmlns:a16="http://schemas.microsoft.com/office/drawing/2014/main" id="{DF97314C-3489-4C47-BC83-C45A78C87D18}"/>
              </a:ext>
            </a:extLst>
          </p:cNvPr>
          <p:cNvCxnSpPr>
            <a:cxnSpLocks/>
          </p:cNvCxnSpPr>
          <p:nvPr/>
        </p:nvCxnSpPr>
        <p:spPr>
          <a:xfrm>
            <a:off x="177217" y="321750"/>
            <a:ext cx="0" cy="45000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85B3B106-37D0-49FD-98BD-B6E794868CF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57899" y="3"/>
            <a:ext cx="3086100" cy="5143499"/>
          </a:xfrm>
          <a:custGeom>
            <a:avLst/>
            <a:gdLst>
              <a:gd name="connsiteX0" fmla="*/ 2611605 w 3086100"/>
              <a:gd name="connsiteY0" fmla="*/ 4869227 h 5143499"/>
              <a:gd name="connsiteX1" fmla="*/ 2606783 w 3086100"/>
              <a:gd name="connsiteY1" fmla="*/ 4873181 h 5143499"/>
              <a:gd name="connsiteX2" fmla="*/ 2606792 w 3086100"/>
              <a:gd name="connsiteY2" fmla="*/ 4873181 h 5143499"/>
              <a:gd name="connsiteX3" fmla="*/ 2595484 w 3086100"/>
              <a:gd name="connsiteY3" fmla="*/ 4930786 h 5143499"/>
              <a:gd name="connsiteX4" fmla="*/ 2652923 w 3086100"/>
              <a:gd name="connsiteY4" fmla="*/ 4930786 h 5143499"/>
              <a:gd name="connsiteX5" fmla="*/ 2654112 w 3086100"/>
              <a:gd name="connsiteY5" fmla="*/ 4924629 h 5143499"/>
              <a:gd name="connsiteX6" fmla="*/ 2651124 w 3086100"/>
              <a:gd name="connsiteY6" fmla="*/ 4921281 h 5143499"/>
              <a:gd name="connsiteX7" fmla="*/ 2612964 w 3086100"/>
              <a:gd name="connsiteY7" fmla="*/ 4921281 h 5143499"/>
              <a:gd name="connsiteX8" fmla="*/ 2616207 w 3086100"/>
              <a:gd name="connsiteY8" fmla="*/ 4904759 h 5143499"/>
              <a:gd name="connsiteX9" fmla="*/ 2649927 w 3086100"/>
              <a:gd name="connsiteY9" fmla="*/ 4904759 h 5143499"/>
              <a:gd name="connsiteX10" fmla="*/ 2651752 w 3086100"/>
              <a:gd name="connsiteY10" fmla="*/ 4903296 h 5143499"/>
              <a:gd name="connsiteX11" fmla="*/ 2653042 w 3086100"/>
              <a:gd name="connsiteY11" fmla="*/ 4896743 h 5143499"/>
              <a:gd name="connsiteX12" fmla="*/ 2651794 w 3086100"/>
              <a:gd name="connsiteY12" fmla="*/ 4895279 h 5143499"/>
              <a:gd name="connsiteX13" fmla="*/ 2618057 w 3086100"/>
              <a:gd name="connsiteY13" fmla="*/ 4895279 h 5143499"/>
              <a:gd name="connsiteX14" fmla="*/ 2621283 w 3086100"/>
              <a:gd name="connsiteY14" fmla="*/ 4878791 h 5143499"/>
              <a:gd name="connsiteX15" fmla="*/ 2658102 w 3086100"/>
              <a:gd name="connsiteY15" fmla="*/ 4878791 h 5143499"/>
              <a:gd name="connsiteX16" fmla="*/ 2662007 w 3086100"/>
              <a:gd name="connsiteY16" fmla="*/ 4876487 h 5143499"/>
              <a:gd name="connsiteX17" fmla="*/ 2663433 w 3086100"/>
              <a:gd name="connsiteY17" fmla="*/ 4869227 h 5143499"/>
              <a:gd name="connsiteX18" fmla="*/ 2511957 w 3086100"/>
              <a:gd name="connsiteY18" fmla="*/ 4869227 h 5143499"/>
              <a:gd name="connsiteX19" fmla="*/ 2507899 w 3086100"/>
              <a:gd name="connsiteY19" fmla="*/ 4873181 h 5143499"/>
              <a:gd name="connsiteX20" fmla="*/ 2496591 w 3086100"/>
              <a:gd name="connsiteY20" fmla="*/ 4930786 h 5143499"/>
              <a:gd name="connsiteX21" fmla="*/ 2508544 w 3086100"/>
              <a:gd name="connsiteY21" fmla="*/ 4930786 h 5143499"/>
              <a:gd name="connsiteX22" fmla="*/ 2512899 w 3086100"/>
              <a:gd name="connsiteY22" fmla="*/ 4927245 h 5143499"/>
              <a:gd name="connsiteX23" fmla="*/ 2521363 w 3086100"/>
              <a:gd name="connsiteY23" fmla="*/ 4884133 h 5143499"/>
              <a:gd name="connsiteX24" fmla="*/ 2535099 w 3086100"/>
              <a:gd name="connsiteY24" fmla="*/ 4903548 h 5143499"/>
              <a:gd name="connsiteX25" fmla="*/ 2538376 w 3086100"/>
              <a:gd name="connsiteY25" fmla="*/ 4905424 h 5143499"/>
              <a:gd name="connsiteX26" fmla="*/ 2544556 w 3086100"/>
              <a:gd name="connsiteY26" fmla="*/ 4905424 h 5143499"/>
              <a:gd name="connsiteX27" fmla="*/ 2548580 w 3086100"/>
              <a:gd name="connsiteY27" fmla="*/ 4903548 h 5143499"/>
              <a:gd name="connsiteX28" fmla="*/ 2569922 w 3086100"/>
              <a:gd name="connsiteY28" fmla="*/ 4884133 h 5143499"/>
              <a:gd name="connsiteX29" fmla="*/ 2561458 w 3086100"/>
              <a:gd name="connsiteY29" fmla="*/ 4927245 h 5143499"/>
              <a:gd name="connsiteX30" fmla="*/ 2564430 w 3086100"/>
              <a:gd name="connsiteY30" fmla="*/ 4930786 h 5143499"/>
              <a:gd name="connsiteX31" fmla="*/ 2576374 w 3086100"/>
              <a:gd name="connsiteY31" fmla="*/ 4930786 h 5143499"/>
              <a:gd name="connsiteX32" fmla="*/ 2587691 w 3086100"/>
              <a:gd name="connsiteY32" fmla="*/ 4873189 h 5143499"/>
              <a:gd name="connsiteX33" fmla="*/ 2585186 w 3086100"/>
              <a:gd name="connsiteY33" fmla="*/ 4869227 h 5143499"/>
              <a:gd name="connsiteX34" fmla="*/ 2571111 w 3086100"/>
              <a:gd name="connsiteY34" fmla="*/ 4869227 h 5143499"/>
              <a:gd name="connsiteX35" fmla="*/ 2543860 w 3086100"/>
              <a:gd name="connsiteY35" fmla="*/ 4893226 h 5143499"/>
              <a:gd name="connsiteX36" fmla="*/ 2526032 w 3086100"/>
              <a:gd name="connsiteY36" fmla="*/ 4869227 h 5143499"/>
              <a:gd name="connsiteX37" fmla="*/ 2441121 w 3086100"/>
              <a:gd name="connsiteY37" fmla="*/ 4869227 h 5143499"/>
              <a:gd name="connsiteX38" fmla="*/ 2436290 w 3086100"/>
              <a:gd name="connsiteY38" fmla="*/ 4873181 h 5143499"/>
              <a:gd name="connsiteX39" fmla="*/ 2424999 w 3086100"/>
              <a:gd name="connsiteY39" fmla="*/ 4930786 h 5143499"/>
              <a:gd name="connsiteX40" fmla="*/ 2482413 w 3086100"/>
              <a:gd name="connsiteY40" fmla="*/ 4930786 h 5143499"/>
              <a:gd name="connsiteX41" fmla="*/ 2483627 w 3086100"/>
              <a:gd name="connsiteY41" fmla="*/ 4924629 h 5143499"/>
              <a:gd name="connsiteX42" fmla="*/ 2480614 w 3086100"/>
              <a:gd name="connsiteY42" fmla="*/ 4921281 h 5143499"/>
              <a:gd name="connsiteX43" fmla="*/ 2442471 w 3086100"/>
              <a:gd name="connsiteY43" fmla="*/ 4921281 h 5143499"/>
              <a:gd name="connsiteX44" fmla="*/ 2445705 w 3086100"/>
              <a:gd name="connsiteY44" fmla="*/ 4904759 h 5143499"/>
              <a:gd name="connsiteX45" fmla="*/ 2479425 w 3086100"/>
              <a:gd name="connsiteY45" fmla="*/ 4904759 h 5143499"/>
              <a:gd name="connsiteX46" fmla="*/ 2481259 w 3086100"/>
              <a:gd name="connsiteY46" fmla="*/ 4903296 h 5143499"/>
              <a:gd name="connsiteX47" fmla="*/ 2482549 w 3086100"/>
              <a:gd name="connsiteY47" fmla="*/ 4896743 h 5143499"/>
              <a:gd name="connsiteX48" fmla="*/ 2481293 w 3086100"/>
              <a:gd name="connsiteY48" fmla="*/ 4895279 h 5143499"/>
              <a:gd name="connsiteX49" fmla="*/ 2447564 w 3086100"/>
              <a:gd name="connsiteY49" fmla="*/ 4895279 h 5143499"/>
              <a:gd name="connsiteX50" fmla="*/ 2450807 w 3086100"/>
              <a:gd name="connsiteY50" fmla="*/ 4878791 h 5143499"/>
              <a:gd name="connsiteX51" fmla="*/ 2487617 w 3086100"/>
              <a:gd name="connsiteY51" fmla="*/ 4878791 h 5143499"/>
              <a:gd name="connsiteX52" fmla="*/ 2491540 w 3086100"/>
              <a:gd name="connsiteY52" fmla="*/ 4876487 h 5143499"/>
              <a:gd name="connsiteX53" fmla="*/ 2492949 w 3086100"/>
              <a:gd name="connsiteY53" fmla="*/ 4869227 h 5143499"/>
              <a:gd name="connsiteX54" fmla="*/ 2368044 w 3086100"/>
              <a:gd name="connsiteY54" fmla="*/ 4869227 h 5143499"/>
              <a:gd name="connsiteX55" fmla="*/ 2362764 w 3086100"/>
              <a:gd name="connsiteY55" fmla="*/ 4872558 h 5143499"/>
              <a:gd name="connsiteX56" fmla="*/ 2361533 w 3086100"/>
              <a:gd name="connsiteY56" fmla="*/ 4878766 h 5143499"/>
              <a:gd name="connsiteX57" fmla="*/ 2385999 w 3086100"/>
              <a:gd name="connsiteY57" fmla="*/ 4878766 h 5143499"/>
              <a:gd name="connsiteX58" fmla="*/ 2375812 w 3086100"/>
              <a:gd name="connsiteY58" fmla="*/ 4930786 h 5143499"/>
              <a:gd name="connsiteX59" fmla="*/ 2386780 w 3086100"/>
              <a:gd name="connsiteY59" fmla="*/ 4930786 h 5143499"/>
              <a:gd name="connsiteX60" fmla="*/ 2392281 w 3086100"/>
              <a:gd name="connsiteY60" fmla="*/ 4926412 h 5143499"/>
              <a:gd name="connsiteX61" fmla="*/ 2401620 w 3086100"/>
              <a:gd name="connsiteY61" fmla="*/ 4878766 h 5143499"/>
              <a:gd name="connsiteX62" fmla="*/ 2422045 w 3086100"/>
              <a:gd name="connsiteY62" fmla="*/ 4878766 h 5143499"/>
              <a:gd name="connsiteX63" fmla="*/ 2426443 w 3086100"/>
              <a:gd name="connsiteY63" fmla="*/ 4874998 h 5143499"/>
              <a:gd name="connsiteX64" fmla="*/ 2426443 w 3086100"/>
              <a:gd name="connsiteY64" fmla="*/ 4875006 h 5143499"/>
              <a:gd name="connsiteX65" fmla="*/ 2427580 w 3086100"/>
              <a:gd name="connsiteY65" fmla="*/ 4869227 h 5143499"/>
              <a:gd name="connsiteX66" fmla="*/ 2216737 w 3086100"/>
              <a:gd name="connsiteY66" fmla="*/ 4869227 h 5143499"/>
              <a:gd name="connsiteX67" fmla="*/ 2213825 w 3086100"/>
              <a:gd name="connsiteY67" fmla="*/ 4871305 h 5143499"/>
              <a:gd name="connsiteX68" fmla="*/ 2210514 w 3086100"/>
              <a:gd name="connsiteY68" fmla="*/ 4888213 h 5143499"/>
              <a:gd name="connsiteX69" fmla="*/ 2254821 w 3086100"/>
              <a:gd name="connsiteY69" fmla="*/ 4909924 h 5143499"/>
              <a:gd name="connsiteX70" fmla="*/ 2250720 w 3086100"/>
              <a:gd name="connsiteY70" fmla="*/ 4930786 h 5143499"/>
              <a:gd name="connsiteX71" fmla="*/ 2261697 w 3086100"/>
              <a:gd name="connsiteY71" fmla="*/ 4930786 h 5143499"/>
              <a:gd name="connsiteX72" fmla="*/ 2267198 w 3086100"/>
              <a:gd name="connsiteY72" fmla="*/ 4926412 h 5143499"/>
              <a:gd name="connsiteX73" fmla="*/ 2278404 w 3086100"/>
              <a:gd name="connsiteY73" fmla="*/ 4869227 h 5143499"/>
              <a:gd name="connsiteX74" fmla="*/ 2265110 w 3086100"/>
              <a:gd name="connsiteY74" fmla="*/ 4869227 h 5143499"/>
              <a:gd name="connsiteX75" fmla="*/ 2262402 w 3086100"/>
              <a:gd name="connsiteY75" fmla="*/ 4871305 h 5143499"/>
              <a:gd name="connsiteX76" fmla="*/ 2256883 w 3086100"/>
              <a:gd name="connsiteY76" fmla="*/ 4899334 h 5143499"/>
              <a:gd name="connsiteX77" fmla="*/ 2226203 w 3086100"/>
              <a:gd name="connsiteY77" fmla="*/ 4887801 h 5143499"/>
              <a:gd name="connsiteX78" fmla="*/ 2229853 w 3086100"/>
              <a:gd name="connsiteY78" fmla="*/ 4869227 h 5143499"/>
              <a:gd name="connsiteX79" fmla="*/ 2702459 w 3086100"/>
              <a:gd name="connsiteY79" fmla="*/ 4869050 h 5143499"/>
              <a:gd name="connsiteX80" fmla="*/ 2673697 w 3086100"/>
              <a:gd name="connsiteY80" fmla="*/ 4880810 h 5143499"/>
              <a:gd name="connsiteX81" fmla="*/ 2692561 w 3086100"/>
              <a:gd name="connsiteY81" fmla="*/ 4902211 h 5143499"/>
              <a:gd name="connsiteX82" fmla="*/ 2709828 w 3086100"/>
              <a:gd name="connsiteY82" fmla="*/ 4917184 h 5143499"/>
              <a:gd name="connsiteX83" fmla="*/ 2697900 w 3086100"/>
              <a:gd name="connsiteY83" fmla="*/ 4921314 h 5143499"/>
              <a:gd name="connsiteX84" fmla="*/ 2670828 w 3086100"/>
              <a:gd name="connsiteY84" fmla="*/ 4921314 h 5143499"/>
              <a:gd name="connsiteX85" fmla="*/ 2665428 w 3086100"/>
              <a:gd name="connsiteY85" fmla="*/ 4925293 h 5143499"/>
              <a:gd name="connsiteX86" fmla="*/ 2664359 w 3086100"/>
              <a:gd name="connsiteY86" fmla="*/ 4930786 h 5143499"/>
              <a:gd name="connsiteX87" fmla="*/ 2698486 w 3086100"/>
              <a:gd name="connsiteY87" fmla="*/ 4930786 h 5143499"/>
              <a:gd name="connsiteX88" fmla="*/ 2727435 w 3086100"/>
              <a:gd name="connsiteY88" fmla="*/ 4920372 h 5143499"/>
              <a:gd name="connsiteX89" fmla="*/ 2724931 w 3086100"/>
              <a:gd name="connsiteY89" fmla="*/ 4906282 h 5143499"/>
              <a:gd name="connsiteX90" fmla="*/ 2715236 w 3086100"/>
              <a:gd name="connsiteY90" fmla="*/ 4899334 h 5143499"/>
              <a:gd name="connsiteX91" fmla="*/ 2691890 w 3086100"/>
              <a:gd name="connsiteY91" fmla="*/ 4881853 h 5143499"/>
              <a:gd name="connsiteX92" fmla="*/ 2701992 w 3086100"/>
              <a:gd name="connsiteY92" fmla="*/ 4878766 h 5143499"/>
              <a:gd name="connsiteX93" fmla="*/ 2724880 w 3086100"/>
              <a:gd name="connsiteY93" fmla="*/ 4878766 h 5143499"/>
              <a:gd name="connsiteX94" fmla="*/ 2730271 w 3086100"/>
              <a:gd name="connsiteY94" fmla="*/ 4874796 h 5143499"/>
              <a:gd name="connsiteX95" fmla="*/ 2731408 w 3086100"/>
              <a:gd name="connsiteY95" fmla="*/ 4869050 h 5143499"/>
              <a:gd name="connsiteX96" fmla="*/ 2321030 w 3086100"/>
              <a:gd name="connsiteY96" fmla="*/ 4869050 h 5143499"/>
              <a:gd name="connsiteX97" fmla="*/ 2292284 w 3086100"/>
              <a:gd name="connsiteY97" fmla="*/ 4880810 h 5143499"/>
              <a:gd name="connsiteX98" fmla="*/ 2311156 w 3086100"/>
              <a:gd name="connsiteY98" fmla="*/ 4902211 h 5143499"/>
              <a:gd name="connsiteX99" fmla="*/ 2328424 w 3086100"/>
              <a:gd name="connsiteY99" fmla="*/ 4917184 h 5143499"/>
              <a:gd name="connsiteX100" fmla="*/ 2316479 w 3086100"/>
              <a:gd name="connsiteY100" fmla="*/ 4921314 h 5143499"/>
              <a:gd name="connsiteX101" fmla="*/ 2289415 w 3086100"/>
              <a:gd name="connsiteY101" fmla="*/ 4921314 h 5143499"/>
              <a:gd name="connsiteX102" fmla="*/ 2284016 w 3086100"/>
              <a:gd name="connsiteY102" fmla="*/ 4925293 h 5143499"/>
              <a:gd name="connsiteX103" fmla="*/ 2282938 w 3086100"/>
              <a:gd name="connsiteY103" fmla="*/ 4930786 h 5143499"/>
              <a:gd name="connsiteX104" fmla="*/ 2317065 w 3086100"/>
              <a:gd name="connsiteY104" fmla="*/ 4930786 h 5143499"/>
              <a:gd name="connsiteX105" fmla="*/ 2346014 w 3086100"/>
              <a:gd name="connsiteY105" fmla="*/ 4920372 h 5143499"/>
              <a:gd name="connsiteX106" fmla="*/ 2343526 w 3086100"/>
              <a:gd name="connsiteY106" fmla="*/ 4906282 h 5143499"/>
              <a:gd name="connsiteX107" fmla="*/ 2333823 w 3086100"/>
              <a:gd name="connsiteY107" fmla="*/ 4899334 h 5143499"/>
              <a:gd name="connsiteX108" fmla="*/ 2310469 w 3086100"/>
              <a:gd name="connsiteY108" fmla="*/ 4881853 h 5143499"/>
              <a:gd name="connsiteX109" fmla="*/ 2320571 w 3086100"/>
              <a:gd name="connsiteY109" fmla="*/ 4878766 h 5143499"/>
              <a:gd name="connsiteX110" fmla="*/ 2343467 w 3086100"/>
              <a:gd name="connsiteY110" fmla="*/ 4878766 h 5143499"/>
              <a:gd name="connsiteX111" fmla="*/ 2348858 w 3086100"/>
              <a:gd name="connsiteY111" fmla="*/ 4874796 h 5143499"/>
              <a:gd name="connsiteX112" fmla="*/ 2349995 w 3086100"/>
              <a:gd name="connsiteY112" fmla="*/ 4869050 h 5143499"/>
              <a:gd name="connsiteX113" fmla="*/ 2170529 w 3086100"/>
              <a:gd name="connsiteY113" fmla="*/ 4869050 h 5143499"/>
              <a:gd name="connsiteX114" fmla="*/ 2141784 w 3086100"/>
              <a:gd name="connsiteY114" fmla="*/ 4880810 h 5143499"/>
              <a:gd name="connsiteX115" fmla="*/ 2160664 w 3086100"/>
              <a:gd name="connsiteY115" fmla="*/ 4902211 h 5143499"/>
              <a:gd name="connsiteX116" fmla="*/ 2177923 w 3086100"/>
              <a:gd name="connsiteY116" fmla="*/ 4917184 h 5143499"/>
              <a:gd name="connsiteX117" fmla="*/ 2165979 w 3086100"/>
              <a:gd name="connsiteY117" fmla="*/ 4921314 h 5143499"/>
              <a:gd name="connsiteX118" fmla="*/ 2138906 w 3086100"/>
              <a:gd name="connsiteY118" fmla="*/ 4921314 h 5143499"/>
              <a:gd name="connsiteX119" fmla="*/ 2133515 w 3086100"/>
              <a:gd name="connsiteY119" fmla="*/ 4925293 h 5143499"/>
              <a:gd name="connsiteX120" fmla="*/ 2132429 w 3086100"/>
              <a:gd name="connsiteY120" fmla="*/ 4930786 h 5143499"/>
              <a:gd name="connsiteX121" fmla="*/ 2166556 w 3086100"/>
              <a:gd name="connsiteY121" fmla="*/ 4930786 h 5143499"/>
              <a:gd name="connsiteX122" fmla="*/ 2195522 w 3086100"/>
              <a:gd name="connsiteY122" fmla="*/ 4920372 h 5143499"/>
              <a:gd name="connsiteX123" fmla="*/ 2193018 w 3086100"/>
              <a:gd name="connsiteY123" fmla="*/ 4906282 h 5143499"/>
              <a:gd name="connsiteX124" fmla="*/ 2183331 w 3086100"/>
              <a:gd name="connsiteY124" fmla="*/ 4899334 h 5143499"/>
              <a:gd name="connsiteX125" fmla="*/ 2159960 w 3086100"/>
              <a:gd name="connsiteY125" fmla="*/ 4881853 h 5143499"/>
              <a:gd name="connsiteX126" fmla="*/ 2170062 w 3086100"/>
              <a:gd name="connsiteY126" fmla="*/ 4878766 h 5143499"/>
              <a:gd name="connsiteX127" fmla="*/ 2192950 w 3086100"/>
              <a:gd name="connsiteY127" fmla="*/ 4878766 h 5143499"/>
              <a:gd name="connsiteX128" fmla="*/ 2198357 w 3086100"/>
              <a:gd name="connsiteY128" fmla="*/ 4874796 h 5143499"/>
              <a:gd name="connsiteX129" fmla="*/ 2199478 w 3086100"/>
              <a:gd name="connsiteY129" fmla="*/ 4869050 h 5143499"/>
              <a:gd name="connsiteX130" fmla="*/ 1923012 w 3086100"/>
              <a:gd name="connsiteY130" fmla="*/ 4818696 h 5143499"/>
              <a:gd name="connsiteX131" fmla="*/ 1875097 w 3086100"/>
              <a:gd name="connsiteY131" fmla="*/ 4832400 h 5143499"/>
              <a:gd name="connsiteX132" fmla="*/ 1904844 w 3086100"/>
              <a:gd name="connsiteY132" fmla="*/ 4837127 h 5143499"/>
              <a:gd name="connsiteX133" fmla="*/ 1961010 w 3086100"/>
              <a:gd name="connsiteY133" fmla="*/ 4852572 h 5143499"/>
              <a:gd name="connsiteX134" fmla="*/ 1883875 w 3086100"/>
              <a:gd name="connsiteY134" fmla="*/ 4932276 h 5143499"/>
              <a:gd name="connsiteX135" fmla="*/ 1905736 w 3086100"/>
              <a:gd name="connsiteY135" fmla="*/ 4875982 h 5143499"/>
              <a:gd name="connsiteX136" fmla="*/ 1911313 w 3086100"/>
              <a:gd name="connsiteY136" fmla="*/ 4853186 h 5143499"/>
              <a:gd name="connsiteX137" fmla="*/ 1892636 w 3086100"/>
              <a:gd name="connsiteY137" fmla="*/ 4872029 h 5143499"/>
              <a:gd name="connsiteX138" fmla="*/ 1855996 w 3086100"/>
              <a:gd name="connsiteY138" fmla="*/ 4935413 h 5143499"/>
              <a:gd name="connsiteX139" fmla="*/ 1845605 w 3086100"/>
              <a:gd name="connsiteY139" fmla="*/ 4965486 h 5143499"/>
              <a:gd name="connsiteX140" fmla="*/ 1886677 w 3086100"/>
              <a:gd name="connsiteY140" fmla="*/ 4955215 h 5143499"/>
              <a:gd name="connsiteX141" fmla="*/ 1990647 w 3086100"/>
              <a:gd name="connsiteY141" fmla="*/ 4857299 h 5143499"/>
              <a:gd name="connsiteX142" fmla="*/ 1981733 w 3086100"/>
              <a:gd name="connsiteY142" fmla="*/ 4831516 h 5143499"/>
              <a:gd name="connsiteX143" fmla="*/ 1923012 w 3086100"/>
              <a:gd name="connsiteY143" fmla="*/ 4818696 h 5143499"/>
              <a:gd name="connsiteX144" fmla="*/ 2505547 w 3086100"/>
              <a:gd name="connsiteY144" fmla="*/ 4793384 h 5143499"/>
              <a:gd name="connsiteX145" fmla="*/ 2520191 w 3086100"/>
              <a:gd name="connsiteY145" fmla="*/ 4809729 h 5143499"/>
              <a:gd name="connsiteX146" fmla="*/ 2519453 w 3086100"/>
              <a:gd name="connsiteY146" fmla="*/ 4813430 h 5143499"/>
              <a:gd name="connsiteX147" fmla="*/ 2515157 w 3086100"/>
              <a:gd name="connsiteY147" fmla="*/ 4818015 h 5143499"/>
              <a:gd name="connsiteX148" fmla="*/ 2481930 w 3086100"/>
              <a:gd name="connsiteY148" fmla="*/ 4818015 h 5143499"/>
              <a:gd name="connsiteX149" fmla="*/ 2483560 w 3086100"/>
              <a:gd name="connsiteY149" fmla="*/ 4809729 h 5143499"/>
              <a:gd name="connsiteX150" fmla="*/ 2505547 w 3086100"/>
              <a:gd name="connsiteY150" fmla="*/ 4793384 h 5143499"/>
              <a:gd name="connsiteX151" fmla="*/ 2277190 w 3086100"/>
              <a:gd name="connsiteY151" fmla="*/ 4793384 h 5143499"/>
              <a:gd name="connsiteX152" fmla="*/ 2291826 w 3086100"/>
              <a:gd name="connsiteY152" fmla="*/ 4809729 h 5143499"/>
              <a:gd name="connsiteX153" fmla="*/ 2291096 w 3086100"/>
              <a:gd name="connsiteY153" fmla="*/ 4813430 h 5143499"/>
              <a:gd name="connsiteX154" fmla="*/ 2286792 w 3086100"/>
              <a:gd name="connsiteY154" fmla="*/ 4818015 h 5143499"/>
              <a:gd name="connsiteX155" fmla="*/ 2253581 w 3086100"/>
              <a:gd name="connsiteY155" fmla="*/ 4818015 h 5143499"/>
              <a:gd name="connsiteX156" fmla="*/ 2255203 w 3086100"/>
              <a:gd name="connsiteY156" fmla="*/ 4809729 h 5143499"/>
              <a:gd name="connsiteX157" fmla="*/ 2277190 w 3086100"/>
              <a:gd name="connsiteY157" fmla="*/ 4793384 h 5143499"/>
              <a:gd name="connsiteX158" fmla="*/ 2040133 w 3086100"/>
              <a:gd name="connsiteY158" fmla="*/ 4783925 h 5143499"/>
              <a:gd name="connsiteX159" fmla="*/ 2006938 w 3086100"/>
              <a:gd name="connsiteY159" fmla="*/ 4801897 h 5143499"/>
              <a:gd name="connsiteX160" fmla="*/ 2033272 w 3086100"/>
              <a:gd name="connsiteY160" fmla="*/ 4864567 h 5143499"/>
              <a:gd name="connsiteX161" fmla="*/ 2056151 w 3086100"/>
              <a:gd name="connsiteY161" fmla="*/ 4909865 h 5143499"/>
              <a:gd name="connsiteX162" fmla="*/ 2007592 w 3086100"/>
              <a:gd name="connsiteY162" fmla="*/ 4918715 h 5143499"/>
              <a:gd name="connsiteX163" fmla="*/ 1971155 w 3086100"/>
              <a:gd name="connsiteY163" fmla="*/ 4921575 h 5143499"/>
              <a:gd name="connsiteX164" fmla="*/ 1977862 w 3086100"/>
              <a:gd name="connsiteY164" fmla="*/ 4931232 h 5143499"/>
              <a:gd name="connsiteX165" fmla="*/ 2032084 w 3086100"/>
              <a:gd name="connsiteY165" fmla="*/ 4936700 h 5143499"/>
              <a:gd name="connsiteX166" fmla="*/ 2087061 w 3086100"/>
              <a:gd name="connsiteY166" fmla="*/ 4911876 h 5143499"/>
              <a:gd name="connsiteX167" fmla="*/ 2062696 w 3086100"/>
              <a:gd name="connsiteY167" fmla="*/ 4859915 h 5143499"/>
              <a:gd name="connsiteX168" fmla="*/ 2034274 w 3086100"/>
              <a:gd name="connsiteY168" fmla="*/ 4812505 h 5143499"/>
              <a:gd name="connsiteX169" fmla="*/ 2086543 w 3086100"/>
              <a:gd name="connsiteY169" fmla="*/ 4800492 h 5143499"/>
              <a:gd name="connsiteX170" fmla="*/ 2103913 w 3086100"/>
              <a:gd name="connsiteY170" fmla="*/ 4794234 h 5143499"/>
              <a:gd name="connsiteX171" fmla="*/ 2079548 w 3086100"/>
              <a:gd name="connsiteY171" fmla="*/ 4785283 h 5143499"/>
              <a:gd name="connsiteX172" fmla="*/ 2040133 w 3086100"/>
              <a:gd name="connsiteY172" fmla="*/ 4783925 h 5143499"/>
              <a:gd name="connsiteX173" fmla="*/ 2693180 w 3086100"/>
              <a:gd name="connsiteY173" fmla="*/ 4783845 h 5143499"/>
              <a:gd name="connsiteX174" fmla="*/ 2687908 w 3086100"/>
              <a:gd name="connsiteY174" fmla="*/ 4787193 h 5143499"/>
              <a:gd name="connsiteX175" fmla="*/ 2686686 w 3086100"/>
              <a:gd name="connsiteY175" fmla="*/ 4793401 h 5143499"/>
              <a:gd name="connsiteX176" fmla="*/ 2711152 w 3086100"/>
              <a:gd name="connsiteY176" fmla="*/ 4793401 h 5143499"/>
              <a:gd name="connsiteX177" fmla="*/ 2700957 w 3086100"/>
              <a:gd name="connsiteY177" fmla="*/ 4845421 h 5143499"/>
              <a:gd name="connsiteX178" fmla="*/ 2711925 w 3086100"/>
              <a:gd name="connsiteY178" fmla="*/ 4845421 h 5143499"/>
              <a:gd name="connsiteX179" fmla="*/ 2717418 w 3086100"/>
              <a:gd name="connsiteY179" fmla="*/ 4841047 h 5143499"/>
              <a:gd name="connsiteX180" fmla="*/ 2726773 w 3086100"/>
              <a:gd name="connsiteY180" fmla="*/ 4793401 h 5143499"/>
              <a:gd name="connsiteX181" fmla="*/ 2747198 w 3086100"/>
              <a:gd name="connsiteY181" fmla="*/ 4793401 h 5143499"/>
              <a:gd name="connsiteX182" fmla="*/ 2751613 w 3086100"/>
              <a:gd name="connsiteY182" fmla="*/ 4789632 h 5143499"/>
              <a:gd name="connsiteX183" fmla="*/ 2752734 w 3086100"/>
              <a:gd name="connsiteY183" fmla="*/ 4783845 h 5143499"/>
              <a:gd name="connsiteX184" fmla="*/ 2642813 w 3086100"/>
              <a:gd name="connsiteY184" fmla="*/ 4783845 h 5143499"/>
              <a:gd name="connsiteX185" fmla="*/ 2630732 w 3086100"/>
              <a:gd name="connsiteY185" fmla="*/ 4845421 h 5143499"/>
              <a:gd name="connsiteX186" fmla="*/ 2683324 w 3086100"/>
              <a:gd name="connsiteY186" fmla="*/ 4845421 h 5143499"/>
              <a:gd name="connsiteX187" fmla="*/ 2684462 w 3086100"/>
              <a:gd name="connsiteY187" fmla="*/ 4839659 h 5143499"/>
              <a:gd name="connsiteX188" fmla="*/ 2681541 w 3086100"/>
              <a:gd name="connsiteY188" fmla="*/ 4835915 h 5143499"/>
              <a:gd name="connsiteX189" fmla="*/ 2648203 w 3086100"/>
              <a:gd name="connsiteY189" fmla="*/ 4835915 h 5143499"/>
              <a:gd name="connsiteX190" fmla="*/ 2658017 w 3086100"/>
              <a:gd name="connsiteY190" fmla="*/ 4785931 h 5143499"/>
              <a:gd name="connsiteX191" fmla="*/ 2656107 w 3086100"/>
              <a:gd name="connsiteY191" fmla="*/ 4783845 h 5143499"/>
              <a:gd name="connsiteX192" fmla="*/ 2559124 w 3086100"/>
              <a:gd name="connsiteY192" fmla="*/ 4783845 h 5143499"/>
              <a:gd name="connsiteX193" fmla="*/ 2555592 w 3086100"/>
              <a:gd name="connsiteY193" fmla="*/ 4786579 h 5143499"/>
              <a:gd name="connsiteX194" fmla="*/ 2549480 w 3086100"/>
              <a:gd name="connsiteY194" fmla="*/ 4817947 h 5143499"/>
              <a:gd name="connsiteX195" fmla="*/ 2578361 w 3086100"/>
              <a:gd name="connsiteY195" fmla="*/ 4846800 h 5143499"/>
              <a:gd name="connsiteX196" fmla="*/ 2578361 w 3086100"/>
              <a:gd name="connsiteY196" fmla="*/ 4846792 h 5143499"/>
              <a:gd name="connsiteX197" fmla="*/ 2618040 w 3086100"/>
              <a:gd name="connsiteY197" fmla="*/ 4817939 h 5143499"/>
              <a:gd name="connsiteX198" fmla="*/ 2624127 w 3086100"/>
              <a:gd name="connsiteY198" fmla="*/ 4786579 h 5143499"/>
              <a:gd name="connsiteX199" fmla="*/ 2621665 w 3086100"/>
              <a:gd name="connsiteY199" fmla="*/ 4783845 h 5143499"/>
              <a:gd name="connsiteX200" fmla="*/ 2609228 w 3086100"/>
              <a:gd name="connsiteY200" fmla="*/ 4783845 h 5143499"/>
              <a:gd name="connsiteX201" fmla="*/ 2605816 w 3086100"/>
              <a:gd name="connsiteY201" fmla="*/ 4801889 h 5143499"/>
              <a:gd name="connsiteX202" fmla="*/ 2603863 w 3086100"/>
              <a:gd name="connsiteY202" fmla="*/ 4811495 h 5143499"/>
              <a:gd name="connsiteX203" fmla="*/ 2602233 w 3086100"/>
              <a:gd name="connsiteY203" fmla="*/ 4819840 h 5143499"/>
              <a:gd name="connsiteX204" fmla="*/ 2579940 w 3086100"/>
              <a:gd name="connsiteY204" fmla="*/ 4836328 h 5143499"/>
              <a:gd name="connsiteX205" fmla="*/ 2564557 w 3086100"/>
              <a:gd name="connsiteY205" fmla="*/ 4819840 h 5143499"/>
              <a:gd name="connsiteX206" fmla="*/ 2565270 w 3086100"/>
              <a:gd name="connsiteY206" fmla="*/ 4816113 h 5143499"/>
              <a:gd name="connsiteX207" fmla="*/ 2568140 w 3086100"/>
              <a:gd name="connsiteY207" fmla="*/ 4801897 h 5143499"/>
              <a:gd name="connsiteX208" fmla="*/ 2571561 w 3086100"/>
              <a:gd name="connsiteY208" fmla="*/ 4783845 h 5143499"/>
              <a:gd name="connsiteX209" fmla="*/ 2155095 w 3086100"/>
              <a:gd name="connsiteY209" fmla="*/ 4783845 h 5143499"/>
              <a:gd name="connsiteX210" fmla="*/ 2154909 w 3086100"/>
              <a:gd name="connsiteY210" fmla="*/ 4784644 h 5143499"/>
              <a:gd name="connsiteX211" fmla="*/ 2161471 w 3086100"/>
              <a:gd name="connsiteY211" fmla="*/ 4793359 h 5143499"/>
              <a:gd name="connsiteX212" fmla="*/ 2193833 w 3086100"/>
              <a:gd name="connsiteY212" fmla="*/ 4793359 h 5143499"/>
              <a:gd name="connsiteX213" fmla="*/ 2208519 w 3086100"/>
              <a:gd name="connsiteY213" fmla="*/ 4814658 h 5143499"/>
              <a:gd name="connsiteX214" fmla="*/ 2188450 w 3086100"/>
              <a:gd name="connsiteY214" fmla="*/ 4835915 h 5143499"/>
              <a:gd name="connsiteX215" fmla="*/ 2166284 w 3086100"/>
              <a:gd name="connsiteY215" fmla="*/ 4835915 h 5143499"/>
              <a:gd name="connsiteX216" fmla="*/ 2173127 w 3086100"/>
              <a:gd name="connsiteY216" fmla="*/ 4800963 h 5143499"/>
              <a:gd name="connsiteX217" fmla="*/ 2160028 w 3086100"/>
              <a:gd name="connsiteY217" fmla="*/ 4800963 h 5143499"/>
              <a:gd name="connsiteX218" fmla="*/ 2157116 w 3086100"/>
              <a:gd name="connsiteY218" fmla="*/ 4803050 h 5143499"/>
              <a:gd name="connsiteX219" fmla="*/ 2148796 w 3086100"/>
              <a:gd name="connsiteY219" fmla="*/ 4845421 h 5143499"/>
              <a:gd name="connsiteX220" fmla="*/ 2185606 w 3086100"/>
              <a:gd name="connsiteY220" fmla="*/ 4845421 h 5143499"/>
              <a:gd name="connsiteX221" fmla="*/ 2224980 w 3086100"/>
              <a:gd name="connsiteY221" fmla="*/ 4814238 h 5143499"/>
              <a:gd name="connsiteX222" fmla="*/ 2199614 w 3086100"/>
              <a:gd name="connsiteY222" fmla="*/ 4783845 h 5143499"/>
              <a:gd name="connsiteX223" fmla="*/ 2423480 w 3086100"/>
              <a:gd name="connsiteY223" fmla="*/ 4783660 h 5143499"/>
              <a:gd name="connsiteX224" fmla="*/ 2394718 w 3086100"/>
              <a:gd name="connsiteY224" fmla="*/ 4795437 h 5143499"/>
              <a:gd name="connsiteX225" fmla="*/ 2413598 w 3086100"/>
              <a:gd name="connsiteY225" fmla="*/ 4816837 h 5143499"/>
              <a:gd name="connsiteX226" fmla="*/ 2430874 w 3086100"/>
              <a:gd name="connsiteY226" fmla="*/ 4831819 h 5143499"/>
              <a:gd name="connsiteX227" fmla="*/ 2418930 w 3086100"/>
              <a:gd name="connsiteY227" fmla="*/ 4835941 h 5143499"/>
              <a:gd name="connsiteX228" fmla="*/ 2391865 w 3086100"/>
              <a:gd name="connsiteY228" fmla="*/ 4835941 h 5143499"/>
              <a:gd name="connsiteX229" fmla="*/ 2386458 w 3086100"/>
              <a:gd name="connsiteY229" fmla="*/ 4839919 h 5143499"/>
              <a:gd name="connsiteX230" fmla="*/ 2385388 w 3086100"/>
              <a:gd name="connsiteY230" fmla="*/ 4845421 h 5143499"/>
              <a:gd name="connsiteX231" fmla="*/ 2419515 w 3086100"/>
              <a:gd name="connsiteY231" fmla="*/ 4845421 h 5143499"/>
              <a:gd name="connsiteX232" fmla="*/ 2448473 w 3086100"/>
              <a:gd name="connsiteY232" fmla="*/ 4834998 h 5143499"/>
              <a:gd name="connsiteX233" fmla="*/ 2448481 w 3086100"/>
              <a:gd name="connsiteY233" fmla="*/ 4834998 h 5143499"/>
              <a:gd name="connsiteX234" fmla="*/ 2445977 w 3086100"/>
              <a:gd name="connsiteY234" fmla="*/ 4820908 h 5143499"/>
              <a:gd name="connsiteX235" fmla="*/ 2436282 w 3086100"/>
              <a:gd name="connsiteY235" fmla="*/ 4813943 h 5143499"/>
              <a:gd name="connsiteX236" fmla="*/ 2412911 w 3086100"/>
              <a:gd name="connsiteY236" fmla="*/ 4796480 h 5143499"/>
              <a:gd name="connsiteX237" fmla="*/ 2423038 w 3086100"/>
              <a:gd name="connsiteY237" fmla="*/ 4793384 h 5143499"/>
              <a:gd name="connsiteX238" fmla="*/ 2445909 w 3086100"/>
              <a:gd name="connsiteY238" fmla="*/ 4793384 h 5143499"/>
              <a:gd name="connsiteX239" fmla="*/ 2451317 w 3086100"/>
              <a:gd name="connsiteY239" fmla="*/ 4789430 h 5143499"/>
              <a:gd name="connsiteX240" fmla="*/ 2452446 w 3086100"/>
              <a:gd name="connsiteY240" fmla="*/ 4783660 h 5143499"/>
              <a:gd name="connsiteX241" fmla="*/ 2350776 w 3086100"/>
              <a:gd name="connsiteY241" fmla="*/ 4783660 h 5143499"/>
              <a:gd name="connsiteX242" fmla="*/ 2322031 w 3086100"/>
              <a:gd name="connsiteY242" fmla="*/ 4795437 h 5143499"/>
              <a:gd name="connsiteX243" fmla="*/ 2340903 w 3086100"/>
              <a:gd name="connsiteY243" fmla="*/ 4816837 h 5143499"/>
              <a:gd name="connsiteX244" fmla="*/ 2358179 w 3086100"/>
              <a:gd name="connsiteY244" fmla="*/ 4831819 h 5143499"/>
              <a:gd name="connsiteX245" fmla="*/ 2346218 w 3086100"/>
              <a:gd name="connsiteY245" fmla="*/ 4835941 h 5143499"/>
              <a:gd name="connsiteX246" fmla="*/ 2319179 w 3086100"/>
              <a:gd name="connsiteY246" fmla="*/ 4835941 h 5143499"/>
              <a:gd name="connsiteX247" fmla="*/ 2313763 w 3086100"/>
              <a:gd name="connsiteY247" fmla="*/ 4839919 h 5143499"/>
              <a:gd name="connsiteX248" fmla="*/ 2312684 w 3086100"/>
              <a:gd name="connsiteY248" fmla="*/ 4845421 h 5143499"/>
              <a:gd name="connsiteX249" fmla="*/ 2346812 w 3086100"/>
              <a:gd name="connsiteY249" fmla="*/ 4845421 h 5143499"/>
              <a:gd name="connsiteX250" fmla="*/ 2375778 w 3086100"/>
              <a:gd name="connsiteY250" fmla="*/ 4834998 h 5143499"/>
              <a:gd name="connsiteX251" fmla="*/ 2373273 w 3086100"/>
              <a:gd name="connsiteY251" fmla="*/ 4820908 h 5143499"/>
              <a:gd name="connsiteX252" fmla="*/ 2363579 w 3086100"/>
              <a:gd name="connsiteY252" fmla="*/ 4813943 h 5143499"/>
              <a:gd name="connsiteX253" fmla="*/ 2340216 w 3086100"/>
              <a:gd name="connsiteY253" fmla="*/ 4796480 h 5143499"/>
              <a:gd name="connsiteX254" fmla="*/ 2350335 w 3086100"/>
              <a:gd name="connsiteY254" fmla="*/ 4793384 h 5143499"/>
              <a:gd name="connsiteX255" fmla="*/ 2373197 w 3086100"/>
              <a:gd name="connsiteY255" fmla="*/ 4793384 h 5143499"/>
              <a:gd name="connsiteX256" fmla="*/ 2378596 w 3086100"/>
              <a:gd name="connsiteY256" fmla="*/ 4789430 h 5143499"/>
              <a:gd name="connsiteX257" fmla="*/ 2379742 w 3086100"/>
              <a:gd name="connsiteY257" fmla="*/ 4783660 h 5143499"/>
              <a:gd name="connsiteX258" fmla="*/ 2507381 w 3086100"/>
              <a:gd name="connsiteY258" fmla="*/ 4783012 h 5143499"/>
              <a:gd name="connsiteX259" fmla="*/ 2468542 w 3086100"/>
              <a:gd name="connsiteY259" fmla="*/ 4811613 h 5143499"/>
              <a:gd name="connsiteX260" fmla="*/ 2462446 w 3086100"/>
              <a:gd name="connsiteY260" fmla="*/ 4842704 h 5143499"/>
              <a:gd name="connsiteX261" fmla="*/ 2464806 w 3086100"/>
              <a:gd name="connsiteY261" fmla="*/ 4845421 h 5143499"/>
              <a:gd name="connsiteX262" fmla="*/ 2476556 w 3086100"/>
              <a:gd name="connsiteY262" fmla="*/ 4845421 h 5143499"/>
              <a:gd name="connsiteX263" fmla="*/ 2479985 w 3086100"/>
              <a:gd name="connsiteY263" fmla="*/ 4827520 h 5143499"/>
              <a:gd name="connsiteX264" fmla="*/ 2516592 w 3086100"/>
              <a:gd name="connsiteY264" fmla="*/ 4827520 h 5143499"/>
              <a:gd name="connsiteX265" fmla="*/ 2513171 w 3086100"/>
              <a:gd name="connsiteY265" fmla="*/ 4845421 h 5143499"/>
              <a:gd name="connsiteX266" fmla="*/ 2524928 w 3086100"/>
              <a:gd name="connsiteY266" fmla="*/ 4845421 h 5143499"/>
              <a:gd name="connsiteX267" fmla="*/ 2528350 w 3086100"/>
              <a:gd name="connsiteY267" fmla="*/ 4842704 h 5143499"/>
              <a:gd name="connsiteX268" fmla="*/ 2534454 w 3086100"/>
              <a:gd name="connsiteY268" fmla="*/ 4811613 h 5143499"/>
              <a:gd name="connsiteX269" fmla="*/ 2507381 w 3086100"/>
              <a:gd name="connsiteY269" fmla="*/ 4783012 h 5143499"/>
              <a:gd name="connsiteX270" fmla="*/ 2279015 w 3086100"/>
              <a:gd name="connsiteY270" fmla="*/ 4783012 h 5143499"/>
              <a:gd name="connsiteX271" fmla="*/ 2240193 w 3086100"/>
              <a:gd name="connsiteY271" fmla="*/ 4811613 h 5143499"/>
              <a:gd name="connsiteX272" fmla="*/ 2234081 w 3086100"/>
              <a:gd name="connsiteY272" fmla="*/ 4842704 h 5143499"/>
              <a:gd name="connsiteX273" fmla="*/ 2236449 w 3086100"/>
              <a:gd name="connsiteY273" fmla="*/ 4845421 h 5143499"/>
              <a:gd name="connsiteX274" fmla="*/ 2248199 w 3086100"/>
              <a:gd name="connsiteY274" fmla="*/ 4845421 h 5143499"/>
              <a:gd name="connsiteX275" fmla="*/ 2251620 w 3086100"/>
              <a:gd name="connsiteY275" fmla="*/ 4827520 h 5143499"/>
              <a:gd name="connsiteX276" fmla="*/ 2288235 w 3086100"/>
              <a:gd name="connsiteY276" fmla="*/ 4827520 h 5143499"/>
              <a:gd name="connsiteX277" fmla="*/ 2284814 w 3086100"/>
              <a:gd name="connsiteY277" fmla="*/ 4845421 h 5143499"/>
              <a:gd name="connsiteX278" fmla="*/ 2296572 w 3086100"/>
              <a:gd name="connsiteY278" fmla="*/ 4845421 h 5143499"/>
              <a:gd name="connsiteX279" fmla="*/ 2299984 w 3086100"/>
              <a:gd name="connsiteY279" fmla="*/ 4842704 h 5143499"/>
              <a:gd name="connsiteX280" fmla="*/ 2306097 w 3086100"/>
              <a:gd name="connsiteY280" fmla="*/ 4811613 h 5143499"/>
              <a:gd name="connsiteX281" fmla="*/ 2279015 w 3086100"/>
              <a:gd name="connsiteY281" fmla="*/ 4783012 h 5143499"/>
              <a:gd name="connsiteX282" fmla="*/ 1973014 w 3086100"/>
              <a:gd name="connsiteY282" fmla="*/ 4694493 h 5143499"/>
              <a:gd name="connsiteX283" fmla="*/ 1973014 w 3086100"/>
              <a:gd name="connsiteY283" fmla="*/ 4694501 h 5143499"/>
              <a:gd name="connsiteX284" fmla="*/ 1929481 w 3086100"/>
              <a:gd name="connsiteY284" fmla="*/ 4706110 h 5143499"/>
              <a:gd name="connsiteX285" fmla="*/ 1953132 w 3086100"/>
              <a:gd name="connsiteY285" fmla="*/ 4710282 h 5143499"/>
              <a:gd name="connsiteX286" fmla="*/ 2002150 w 3086100"/>
              <a:gd name="connsiteY286" fmla="*/ 4720881 h 5143499"/>
              <a:gd name="connsiteX287" fmla="*/ 1953896 w 3086100"/>
              <a:gd name="connsiteY287" fmla="*/ 4787631 h 5143499"/>
              <a:gd name="connsiteX288" fmla="*/ 1938327 w 3086100"/>
              <a:gd name="connsiteY288" fmla="*/ 4802587 h 5143499"/>
              <a:gd name="connsiteX289" fmla="*/ 1940177 w 3086100"/>
              <a:gd name="connsiteY289" fmla="*/ 4806608 h 5143499"/>
              <a:gd name="connsiteX290" fmla="*/ 1957360 w 3086100"/>
              <a:gd name="connsiteY290" fmla="*/ 4800880 h 5143499"/>
              <a:gd name="connsiteX291" fmla="*/ 2029834 w 3086100"/>
              <a:gd name="connsiteY291" fmla="*/ 4714909 h 5143499"/>
              <a:gd name="connsiteX292" fmla="*/ 1973014 w 3086100"/>
              <a:gd name="connsiteY292" fmla="*/ 4694493 h 5143499"/>
              <a:gd name="connsiteX293" fmla="*/ 460601 w 3086100"/>
              <a:gd name="connsiteY293" fmla="*/ 0 h 5143499"/>
              <a:gd name="connsiteX294" fmla="*/ 3086100 w 3086100"/>
              <a:gd name="connsiteY294" fmla="*/ 0 h 5143499"/>
              <a:gd name="connsiteX295" fmla="*/ 3086100 w 3086100"/>
              <a:gd name="connsiteY295" fmla="*/ 842036 h 5143499"/>
              <a:gd name="connsiteX296" fmla="*/ 3086100 w 3086100"/>
              <a:gd name="connsiteY296" fmla="*/ 1941749 h 5143499"/>
              <a:gd name="connsiteX297" fmla="*/ 3086100 w 3086100"/>
              <a:gd name="connsiteY297" fmla="*/ 3201749 h 5143499"/>
              <a:gd name="connsiteX298" fmla="*/ 3086100 w 3086100"/>
              <a:gd name="connsiteY298" fmla="*/ 3743118 h 5143499"/>
              <a:gd name="connsiteX299" fmla="*/ 3086100 w 3086100"/>
              <a:gd name="connsiteY299" fmla="*/ 5143499 h 5143499"/>
              <a:gd name="connsiteX300" fmla="*/ 547192 w 3086100"/>
              <a:gd name="connsiteY300" fmla="*/ 5143499 h 5143499"/>
              <a:gd name="connsiteX301" fmla="*/ 451948 w 3086100"/>
              <a:gd name="connsiteY301" fmla="*/ 4947929 h 5143499"/>
              <a:gd name="connsiteX302" fmla="*/ 0 w 3086100"/>
              <a:gd name="connsiteY302" fmla="*/ 2482849 h 5143499"/>
              <a:gd name="connsiteX303" fmla="*/ 451948 w 3086100"/>
              <a:gd name="connsiteY303" fmla="*/ 17768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</a:cxnLst>
            <a:rect l="l" t="t" r="r" b="b"/>
            <a:pathLst>
              <a:path w="3086100" h="5143499">
                <a:moveTo>
                  <a:pt x="2611605" y="4869227"/>
                </a:moveTo>
                <a:cubicBezTo>
                  <a:pt x="2608906" y="4869227"/>
                  <a:pt x="2607327" y="4870464"/>
                  <a:pt x="2606783" y="4873181"/>
                </a:cubicBezTo>
                <a:lnTo>
                  <a:pt x="2606792" y="4873181"/>
                </a:lnTo>
                <a:lnTo>
                  <a:pt x="2595484" y="4930786"/>
                </a:lnTo>
                <a:lnTo>
                  <a:pt x="2652923" y="4930786"/>
                </a:lnTo>
                <a:lnTo>
                  <a:pt x="2654112" y="4924629"/>
                </a:lnTo>
                <a:cubicBezTo>
                  <a:pt x="2654621" y="4922122"/>
                  <a:pt x="2654002" y="4921281"/>
                  <a:pt x="2651124" y="4921281"/>
                </a:cubicBezTo>
                <a:lnTo>
                  <a:pt x="2612964" y="4921281"/>
                </a:lnTo>
                <a:lnTo>
                  <a:pt x="2616207" y="4904759"/>
                </a:lnTo>
                <a:lnTo>
                  <a:pt x="2649927" y="4904759"/>
                </a:lnTo>
                <a:cubicBezTo>
                  <a:pt x="2650819" y="4904793"/>
                  <a:pt x="2651599" y="4904168"/>
                  <a:pt x="2651752" y="4903296"/>
                </a:cubicBezTo>
                <a:lnTo>
                  <a:pt x="2653042" y="4896743"/>
                </a:lnTo>
                <a:cubicBezTo>
                  <a:pt x="2653212" y="4895918"/>
                  <a:pt x="2652737" y="4895279"/>
                  <a:pt x="2651794" y="4895279"/>
                </a:cubicBezTo>
                <a:lnTo>
                  <a:pt x="2618057" y="4895279"/>
                </a:lnTo>
                <a:lnTo>
                  <a:pt x="2621283" y="4878791"/>
                </a:lnTo>
                <a:lnTo>
                  <a:pt x="2658102" y="4878791"/>
                </a:lnTo>
                <a:cubicBezTo>
                  <a:pt x="2659842" y="4878791"/>
                  <a:pt x="2661566" y="4878791"/>
                  <a:pt x="2662007" y="4876487"/>
                </a:cubicBezTo>
                <a:lnTo>
                  <a:pt x="2663433" y="4869227"/>
                </a:lnTo>
                <a:close/>
                <a:moveTo>
                  <a:pt x="2511957" y="4869227"/>
                </a:moveTo>
                <a:cubicBezTo>
                  <a:pt x="2509647" y="4869227"/>
                  <a:pt x="2508383" y="4870674"/>
                  <a:pt x="2507899" y="4873181"/>
                </a:cubicBezTo>
                <a:lnTo>
                  <a:pt x="2496591" y="4930786"/>
                </a:lnTo>
                <a:lnTo>
                  <a:pt x="2508544" y="4930786"/>
                </a:lnTo>
                <a:cubicBezTo>
                  <a:pt x="2511048" y="4930786"/>
                  <a:pt x="2512449" y="4929541"/>
                  <a:pt x="2512899" y="4927245"/>
                </a:cubicBezTo>
                <a:lnTo>
                  <a:pt x="2521363" y="4884133"/>
                </a:lnTo>
                <a:lnTo>
                  <a:pt x="2535099" y="4903548"/>
                </a:lnTo>
                <a:cubicBezTo>
                  <a:pt x="2535753" y="4904729"/>
                  <a:pt x="2537016" y="4905453"/>
                  <a:pt x="2538376" y="4905424"/>
                </a:cubicBezTo>
                <a:lnTo>
                  <a:pt x="2544556" y="4905424"/>
                </a:lnTo>
                <a:cubicBezTo>
                  <a:pt x="2546096" y="4905356"/>
                  <a:pt x="2547545" y="4904680"/>
                  <a:pt x="2548580" y="4903548"/>
                </a:cubicBezTo>
                <a:lnTo>
                  <a:pt x="2569922" y="4884133"/>
                </a:lnTo>
                <a:lnTo>
                  <a:pt x="2561458" y="4927245"/>
                </a:lnTo>
                <a:cubicBezTo>
                  <a:pt x="2561009" y="4929541"/>
                  <a:pt x="2561917" y="4930786"/>
                  <a:pt x="2564430" y="4930786"/>
                </a:cubicBezTo>
                <a:lnTo>
                  <a:pt x="2576374" y="4930786"/>
                </a:lnTo>
                <a:lnTo>
                  <a:pt x="2587691" y="4873189"/>
                </a:lnTo>
                <a:cubicBezTo>
                  <a:pt x="2588166" y="4870674"/>
                  <a:pt x="2587504" y="4869227"/>
                  <a:pt x="2585186" y="4869227"/>
                </a:cubicBezTo>
                <a:lnTo>
                  <a:pt x="2571111" y="4869227"/>
                </a:lnTo>
                <a:lnTo>
                  <a:pt x="2543860" y="4893226"/>
                </a:lnTo>
                <a:lnTo>
                  <a:pt x="2526032" y="4869227"/>
                </a:lnTo>
                <a:close/>
                <a:moveTo>
                  <a:pt x="2441121" y="4869227"/>
                </a:moveTo>
                <a:cubicBezTo>
                  <a:pt x="2438421" y="4869227"/>
                  <a:pt x="2436825" y="4870464"/>
                  <a:pt x="2436290" y="4873181"/>
                </a:cubicBezTo>
                <a:lnTo>
                  <a:pt x="2424999" y="4930786"/>
                </a:lnTo>
                <a:lnTo>
                  <a:pt x="2482413" y="4930786"/>
                </a:lnTo>
                <a:lnTo>
                  <a:pt x="2483627" y="4924629"/>
                </a:lnTo>
                <a:cubicBezTo>
                  <a:pt x="2484128" y="4922122"/>
                  <a:pt x="2483509" y="4921281"/>
                  <a:pt x="2480614" y="4921281"/>
                </a:cubicBezTo>
                <a:lnTo>
                  <a:pt x="2442471" y="4921281"/>
                </a:lnTo>
                <a:lnTo>
                  <a:pt x="2445705" y="4904759"/>
                </a:lnTo>
                <a:lnTo>
                  <a:pt x="2479425" y="4904759"/>
                </a:lnTo>
                <a:cubicBezTo>
                  <a:pt x="2480317" y="4904786"/>
                  <a:pt x="2481096" y="4904165"/>
                  <a:pt x="2481259" y="4903296"/>
                </a:cubicBezTo>
                <a:lnTo>
                  <a:pt x="2482549" y="4896743"/>
                </a:lnTo>
                <a:cubicBezTo>
                  <a:pt x="2482702" y="4895918"/>
                  <a:pt x="2482252" y="4895279"/>
                  <a:pt x="2481293" y="4895279"/>
                </a:cubicBezTo>
                <a:lnTo>
                  <a:pt x="2447564" y="4895279"/>
                </a:lnTo>
                <a:lnTo>
                  <a:pt x="2450807" y="4878791"/>
                </a:lnTo>
                <a:lnTo>
                  <a:pt x="2487617" y="4878791"/>
                </a:lnTo>
                <a:cubicBezTo>
                  <a:pt x="2489349" y="4878791"/>
                  <a:pt x="2491073" y="4878791"/>
                  <a:pt x="2491540" y="4876487"/>
                </a:cubicBezTo>
                <a:lnTo>
                  <a:pt x="2492949" y="4869227"/>
                </a:lnTo>
                <a:close/>
                <a:moveTo>
                  <a:pt x="2368044" y="4869227"/>
                </a:moveTo>
                <a:cubicBezTo>
                  <a:pt x="2364962" y="4869227"/>
                  <a:pt x="2363205" y="4870262"/>
                  <a:pt x="2362764" y="4872558"/>
                </a:cubicBezTo>
                <a:lnTo>
                  <a:pt x="2361533" y="4878766"/>
                </a:lnTo>
                <a:lnTo>
                  <a:pt x="2385999" y="4878766"/>
                </a:lnTo>
                <a:lnTo>
                  <a:pt x="2375812" y="4930786"/>
                </a:lnTo>
                <a:lnTo>
                  <a:pt x="2386780" y="4930786"/>
                </a:lnTo>
                <a:cubicBezTo>
                  <a:pt x="2389862" y="4930786"/>
                  <a:pt x="2391645" y="4929541"/>
                  <a:pt x="2392281" y="4926412"/>
                </a:cubicBezTo>
                <a:lnTo>
                  <a:pt x="2401620" y="4878766"/>
                </a:lnTo>
                <a:lnTo>
                  <a:pt x="2422045" y="4878766"/>
                </a:lnTo>
                <a:cubicBezTo>
                  <a:pt x="2424932" y="4878766"/>
                  <a:pt x="2425950" y="4877513"/>
                  <a:pt x="2426443" y="4874998"/>
                </a:cubicBezTo>
                <a:lnTo>
                  <a:pt x="2426443" y="4875006"/>
                </a:lnTo>
                <a:lnTo>
                  <a:pt x="2427580" y="4869227"/>
                </a:lnTo>
                <a:close/>
                <a:moveTo>
                  <a:pt x="2216737" y="4869227"/>
                </a:moveTo>
                <a:cubicBezTo>
                  <a:pt x="2215192" y="4869227"/>
                  <a:pt x="2214029" y="4870253"/>
                  <a:pt x="2213825" y="4871305"/>
                </a:cubicBezTo>
                <a:lnTo>
                  <a:pt x="2210514" y="4888213"/>
                </a:lnTo>
                <a:cubicBezTo>
                  <a:pt x="2204207" y="4920364"/>
                  <a:pt x="2234930" y="4915973"/>
                  <a:pt x="2254821" y="4909924"/>
                </a:cubicBezTo>
                <a:lnTo>
                  <a:pt x="2250720" y="4930786"/>
                </a:lnTo>
                <a:lnTo>
                  <a:pt x="2261697" y="4930786"/>
                </a:lnTo>
                <a:cubicBezTo>
                  <a:pt x="2264787" y="4930786"/>
                  <a:pt x="2266570" y="4929541"/>
                  <a:pt x="2267198" y="4926412"/>
                </a:cubicBezTo>
                <a:lnTo>
                  <a:pt x="2278404" y="4869227"/>
                </a:lnTo>
                <a:lnTo>
                  <a:pt x="2265110" y="4869227"/>
                </a:lnTo>
                <a:cubicBezTo>
                  <a:pt x="2263768" y="4869227"/>
                  <a:pt x="2262597" y="4870253"/>
                  <a:pt x="2262402" y="4871305"/>
                </a:cubicBezTo>
                <a:lnTo>
                  <a:pt x="2256883" y="4899334"/>
                </a:lnTo>
                <a:cubicBezTo>
                  <a:pt x="2247265" y="4902261"/>
                  <a:pt x="2222315" y="4907628"/>
                  <a:pt x="2226203" y="4887801"/>
                </a:cubicBezTo>
                <a:lnTo>
                  <a:pt x="2229853" y="4869227"/>
                </a:lnTo>
                <a:close/>
                <a:moveTo>
                  <a:pt x="2702459" y="4869050"/>
                </a:moveTo>
                <a:cubicBezTo>
                  <a:pt x="2686049" y="4869050"/>
                  <a:pt x="2676201" y="4869151"/>
                  <a:pt x="2673697" y="4880810"/>
                </a:cubicBezTo>
                <a:cubicBezTo>
                  <a:pt x="2671846" y="4889475"/>
                  <a:pt x="2678689" y="4893664"/>
                  <a:pt x="2692561" y="4902211"/>
                </a:cubicBezTo>
                <a:cubicBezTo>
                  <a:pt x="2707774" y="4911548"/>
                  <a:pt x="2711246" y="4912263"/>
                  <a:pt x="2709828" y="4917184"/>
                </a:cubicBezTo>
                <a:cubicBezTo>
                  <a:pt x="2708724" y="4921154"/>
                  <a:pt x="2704734" y="4921314"/>
                  <a:pt x="2697900" y="4921314"/>
                </a:cubicBezTo>
                <a:lnTo>
                  <a:pt x="2670828" y="4921314"/>
                </a:lnTo>
                <a:cubicBezTo>
                  <a:pt x="2667754" y="4921314"/>
                  <a:pt x="2665963" y="4922576"/>
                  <a:pt x="2665428" y="4925293"/>
                </a:cubicBezTo>
                <a:lnTo>
                  <a:pt x="2664359" y="4930786"/>
                </a:lnTo>
                <a:lnTo>
                  <a:pt x="2698486" y="4930786"/>
                </a:lnTo>
                <a:cubicBezTo>
                  <a:pt x="2714098" y="4930786"/>
                  <a:pt x="2723878" y="4929827"/>
                  <a:pt x="2727435" y="4920372"/>
                </a:cubicBezTo>
                <a:cubicBezTo>
                  <a:pt x="2729175" y="4915762"/>
                  <a:pt x="2729150" y="4910993"/>
                  <a:pt x="2724931" y="4906282"/>
                </a:cubicBezTo>
                <a:cubicBezTo>
                  <a:pt x="2722791" y="4903885"/>
                  <a:pt x="2719616" y="4901773"/>
                  <a:pt x="2715236" y="4899334"/>
                </a:cubicBezTo>
                <a:cubicBezTo>
                  <a:pt x="2695744" y="4888406"/>
                  <a:pt x="2690642" y="4887145"/>
                  <a:pt x="2691890" y="4881853"/>
                </a:cubicBezTo>
                <a:cubicBezTo>
                  <a:pt x="2692569" y="4878876"/>
                  <a:pt x="2694657" y="4878766"/>
                  <a:pt x="2701992" y="4878766"/>
                </a:cubicBezTo>
                <a:lnTo>
                  <a:pt x="2724880" y="4878766"/>
                </a:lnTo>
                <a:cubicBezTo>
                  <a:pt x="2727953" y="4878766"/>
                  <a:pt x="2729736" y="4877513"/>
                  <a:pt x="2730271" y="4874796"/>
                </a:cubicBezTo>
                <a:lnTo>
                  <a:pt x="2731408" y="4869050"/>
                </a:lnTo>
                <a:close/>
                <a:moveTo>
                  <a:pt x="2321030" y="4869050"/>
                </a:moveTo>
                <a:cubicBezTo>
                  <a:pt x="2304628" y="4869050"/>
                  <a:pt x="2294789" y="4869151"/>
                  <a:pt x="2292284" y="4880810"/>
                </a:cubicBezTo>
                <a:cubicBezTo>
                  <a:pt x="2290434" y="4889475"/>
                  <a:pt x="2297268" y="4893664"/>
                  <a:pt x="2311156" y="4902211"/>
                </a:cubicBezTo>
                <a:cubicBezTo>
                  <a:pt x="2326361" y="4911548"/>
                  <a:pt x="2329833" y="4912263"/>
                  <a:pt x="2328424" y="4917184"/>
                </a:cubicBezTo>
                <a:cubicBezTo>
                  <a:pt x="2327295" y="4921154"/>
                  <a:pt x="2323313" y="4921314"/>
                  <a:pt x="2316479" y="4921314"/>
                </a:cubicBezTo>
                <a:lnTo>
                  <a:pt x="2289415" y="4921314"/>
                </a:lnTo>
                <a:cubicBezTo>
                  <a:pt x="2286342" y="4921314"/>
                  <a:pt x="2284551" y="4922576"/>
                  <a:pt x="2284016" y="4925293"/>
                </a:cubicBezTo>
                <a:lnTo>
                  <a:pt x="2282938" y="4930786"/>
                </a:lnTo>
                <a:lnTo>
                  <a:pt x="2317065" y="4930786"/>
                </a:lnTo>
                <a:cubicBezTo>
                  <a:pt x="2332686" y="4930786"/>
                  <a:pt x="2342465" y="4929827"/>
                  <a:pt x="2346014" y="4920372"/>
                </a:cubicBezTo>
                <a:cubicBezTo>
                  <a:pt x="2347763" y="4915762"/>
                  <a:pt x="2347746" y="4910993"/>
                  <a:pt x="2343526" y="4906282"/>
                </a:cubicBezTo>
                <a:cubicBezTo>
                  <a:pt x="2341370" y="4903885"/>
                  <a:pt x="2338212" y="4901773"/>
                  <a:pt x="2333823" y="4899334"/>
                </a:cubicBezTo>
                <a:cubicBezTo>
                  <a:pt x="2314323" y="4888406"/>
                  <a:pt x="2309238" y="4887145"/>
                  <a:pt x="2310469" y="4881853"/>
                </a:cubicBezTo>
                <a:cubicBezTo>
                  <a:pt x="2311148" y="4878876"/>
                  <a:pt x="2313228" y="4878766"/>
                  <a:pt x="2320571" y="4878766"/>
                </a:cubicBezTo>
                <a:lnTo>
                  <a:pt x="2343467" y="4878766"/>
                </a:lnTo>
                <a:cubicBezTo>
                  <a:pt x="2346532" y="4878766"/>
                  <a:pt x="2348332" y="4877513"/>
                  <a:pt x="2348858" y="4874796"/>
                </a:cubicBezTo>
                <a:lnTo>
                  <a:pt x="2349995" y="4869050"/>
                </a:lnTo>
                <a:close/>
                <a:moveTo>
                  <a:pt x="2170529" y="4869050"/>
                </a:moveTo>
                <a:cubicBezTo>
                  <a:pt x="2154128" y="4869050"/>
                  <a:pt x="2144280" y="4869151"/>
                  <a:pt x="2141784" y="4880810"/>
                </a:cubicBezTo>
                <a:cubicBezTo>
                  <a:pt x="2139916" y="4889475"/>
                  <a:pt x="2146767" y="4893664"/>
                  <a:pt x="2160664" y="4902211"/>
                </a:cubicBezTo>
                <a:cubicBezTo>
                  <a:pt x="2175852" y="4911548"/>
                  <a:pt x="2179324" y="4912263"/>
                  <a:pt x="2177923" y="4917184"/>
                </a:cubicBezTo>
                <a:cubicBezTo>
                  <a:pt x="2176803" y="4921154"/>
                  <a:pt x="2172821" y="4921314"/>
                  <a:pt x="2165979" y="4921314"/>
                </a:cubicBezTo>
                <a:lnTo>
                  <a:pt x="2138906" y="4921314"/>
                </a:lnTo>
                <a:cubicBezTo>
                  <a:pt x="2135833" y="4921314"/>
                  <a:pt x="2134050" y="4922576"/>
                  <a:pt x="2133515" y="4925293"/>
                </a:cubicBezTo>
                <a:lnTo>
                  <a:pt x="2132429" y="4930786"/>
                </a:lnTo>
                <a:lnTo>
                  <a:pt x="2166556" y="4930786"/>
                </a:lnTo>
                <a:cubicBezTo>
                  <a:pt x="2182177" y="4930786"/>
                  <a:pt x="2191965" y="4929827"/>
                  <a:pt x="2195522" y="4920372"/>
                </a:cubicBezTo>
                <a:cubicBezTo>
                  <a:pt x="2197245" y="4915762"/>
                  <a:pt x="2197228" y="4910993"/>
                  <a:pt x="2193018" y="4906282"/>
                </a:cubicBezTo>
                <a:cubicBezTo>
                  <a:pt x="2190870" y="4903885"/>
                  <a:pt x="2187695" y="4901773"/>
                  <a:pt x="2183331" y="4899334"/>
                </a:cubicBezTo>
                <a:cubicBezTo>
                  <a:pt x="2163822" y="4888406"/>
                  <a:pt x="2158729" y="4887145"/>
                  <a:pt x="2159960" y="4881853"/>
                </a:cubicBezTo>
                <a:cubicBezTo>
                  <a:pt x="2160656" y="4878876"/>
                  <a:pt x="2162736" y="4878766"/>
                  <a:pt x="2170062" y="4878766"/>
                </a:cubicBezTo>
                <a:lnTo>
                  <a:pt x="2192950" y="4878766"/>
                </a:lnTo>
                <a:cubicBezTo>
                  <a:pt x="2196031" y="4878766"/>
                  <a:pt x="2197823" y="4877513"/>
                  <a:pt x="2198357" y="4874796"/>
                </a:cubicBezTo>
                <a:lnTo>
                  <a:pt x="2199478" y="4869050"/>
                </a:lnTo>
                <a:close/>
                <a:moveTo>
                  <a:pt x="1923012" y="4818696"/>
                </a:moveTo>
                <a:cubicBezTo>
                  <a:pt x="1904963" y="4819756"/>
                  <a:pt x="1873917" y="4826091"/>
                  <a:pt x="1875097" y="4832400"/>
                </a:cubicBezTo>
                <a:cubicBezTo>
                  <a:pt x="1876184" y="4839230"/>
                  <a:pt x="1895845" y="4837127"/>
                  <a:pt x="1904844" y="4837127"/>
                </a:cubicBezTo>
                <a:cubicBezTo>
                  <a:pt x="1924633" y="4837127"/>
                  <a:pt x="1956061" y="4838465"/>
                  <a:pt x="1961010" y="4852572"/>
                </a:cubicBezTo>
                <a:cubicBezTo>
                  <a:pt x="1971681" y="4882956"/>
                  <a:pt x="1899301" y="4937516"/>
                  <a:pt x="1883875" y="4932276"/>
                </a:cubicBezTo>
                <a:cubicBezTo>
                  <a:pt x="1876897" y="4929903"/>
                  <a:pt x="1898053" y="4890249"/>
                  <a:pt x="1905736" y="4875982"/>
                </a:cubicBezTo>
                <a:cubicBezTo>
                  <a:pt x="1910303" y="4867469"/>
                  <a:pt x="1917256" y="4854094"/>
                  <a:pt x="1911313" y="4853186"/>
                </a:cubicBezTo>
                <a:cubicBezTo>
                  <a:pt x="1904691" y="4852185"/>
                  <a:pt x="1897374" y="4864769"/>
                  <a:pt x="1892636" y="4872029"/>
                </a:cubicBezTo>
                <a:cubicBezTo>
                  <a:pt x="1879767" y="4891755"/>
                  <a:pt x="1866565" y="4913290"/>
                  <a:pt x="1855996" y="4935413"/>
                </a:cubicBezTo>
                <a:cubicBezTo>
                  <a:pt x="1852728" y="4942244"/>
                  <a:pt x="1841870" y="4962828"/>
                  <a:pt x="1845605" y="4965486"/>
                </a:cubicBezTo>
                <a:cubicBezTo>
                  <a:pt x="1849086" y="4967959"/>
                  <a:pt x="1865623" y="4964435"/>
                  <a:pt x="1886677" y="4955215"/>
                </a:cubicBezTo>
                <a:cubicBezTo>
                  <a:pt x="1952869" y="4926219"/>
                  <a:pt x="1982667" y="4888483"/>
                  <a:pt x="1990647" y="4857299"/>
                </a:cubicBezTo>
                <a:cubicBezTo>
                  <a:pt x="1993191" y="4847710"/>
                  <a:pt x="1989677" y="4837545"/>
                  <a:pt x="1981733" y="4831516"/>
                </a:cubicBezTo>
                <a:cubicBezTo>
                  <a:pt x="1967904" y="4821026"/>
                  <a:pt x="1943284" y="4817519"/>
                  <a:pt x="1923012" y="4818696"/>
                </a:cubicBezTo>
                <a:close/>
                <a:moveTo>
                  <a:pt x="2505547" y="4793384"/>
                </a:moveTo>
                <a:cubicBezTo>
                  <a:pt x="2518867" y="4793384"/>
                  <a:pt x="2522348" y="4798339"/>
                  <a:pt x="2520191" y="4809729"/>
                </a:cubicBezTo>
                <a:cubicBezTo>
                  <a:pt x="2520191" y="4809729"/>
                  <a:pt x="2519648" y="4812572"/>
                  <a:pt x="2519453" y="4813430"/>
                </a:cubicBezTo>
                <a:cubicBezTo>
                  <a:pt x="2519190" y="4814709"/>
                  <a:pt x="2518604" y="4818015"/>
                  <a:pt x="2515157" y="4818015"/>
                </a:cubicBezTo>
                <a:lnTo>
                  <a:pt x="2481930" y="4818015"/>
                </a:lnTo>
                <a:lnTo>
                  <a:pt x="2483560" y="4809729"/>
                </a:lnTo>
                <a:cubicBezTo>
                  <a:pt x="2485903" y="4797733"/>
                  <a:pt x="2492949" y="4793384"/>
                  <a:pt x="2505547" y="4793384"/>
                </a:cubicBezTo>
                <a:close/>
                <a:moveTo>
                  <a:pt x="2277190" y="4793384"/>
                </a:moveTo>
                <a:cubicBezTo>
                  <a:pt x="2290502" y="4793384"/>
                  <a:pt x="2293999" y="4798339"/>
                  <a:pt x="2291826" y="4809729"/>
                </a:cubicBezTo>
                <a:cubicBezTo>
                  <a:pt x="2291826" y="4809729"/>
                  <a:pt x="2291283" y="4812572"/>
                  <a:pt x="2291096" y="4813430"/>
                </a:cubicBezTo>
                <a:cubicBezTo>
                  <a:pt x="2290841" y="4814709"/>
                  <a:pt x="2290247" y="4818015"/>
                  <a:pt x="2286792" y="4818015"/>
                </a:cubicBezTo>
                <a:lnTo>
                  <a:pt x="2253581" y="4818015"/>
                </a:lnTo>
                <a:lnTo>
                  <a:pt x="2255203" y="4809729"/>
                </a:lnTo>
                <a:cubicBezTo>
                  <a:pt x="2257529" y="4797733"/>
                  <a:pt x="2264592" y="4793384"/>
                  <a:pt x="2277190" y="4793384"/>
                </a:cubicBezTo>
                <a:close/>
                <a:moveTo>
                  <a:pt x="2040133" y="4783925"/>
                </a:moveTo>
                <a:cubicBezTo>
                  <a:pt x="2026282" y="4785814"/>
                  <a:pt x="2013467" y="4790924"/>
                  <a:pt x="2006938" y="4801897"/>
                </a:cubicBezTo>
                <a:cubicBezTo>
                  <a:pt x="1996853" y="4818856"/>
                  <a:pt x="2015920" y="4842073"/>
                  <a:pt x="2033272" y="4864567"/>
                </a:cubicBezTo>
                <a:cubicBezTo>
                  <a:pt x="2047186" y="4882594"/>
                  <a:pt x="2062340" y="4899813"/>
                  <a:pt x="2056151" y="4909865"/>
                </a:cubicBezTo>
                <a:cubicBezTo>
                  <a:pt x="2051108" y="4918084"/>
                  <a:pt x="2018738" y="4918067"/>
                  <a:pt x="2007592" y="4918715"/>
                </a:cubicBezTo>
                <a:cubicBezTo>
                  <a:pt x="1994051" y="4919514"/>
                  <a:pt x="1974568" y="4919556"/>
                  <a:pt x="1971155" y="4921575"/>
                </a:cubicBezTo>
                <a:cubicBezTo>
                  <a:pt x="1968099" y="4923384"/>
                  <a:pt x="1966401" y="4928994"/>
                  <a:pt x="1977862" y="4931232"/>
                </a:cubicBezTo>
                <a:cubicBezTo>
                  <a:pt x="1987056" y="4933049"/>
                  <a:pt x="2008958" y="4936717"/>
                  <a:pt x="2032084" y="4936700"/>
                </a:cubicBezTo>
                <a:cubicBezTo>
                  <a:pt x="2056219" y="4936691"/>
                  <a:pt x="2081568" y="4932359"/>
                  <a:pt x="2087061" y="4911876"/>
                </a:cubicBezTo>
                <a:cubicBezTo>
                  <a:pt x="2091476" y="4895422"/>
                  <a:pt x="2076169" y="4877790"/>
                  <a:pt x="2062696" y="4859915"/>
                </a:cubicBezTo>
                <a:cubicBezTo>
                  <a:pt x="2047942" y="4840332"/>
                  <a:pt x="2033017" y="4826376"/>
                  <a:pt x="2034274" y="4812505"/>
                </a:cubicBezTo>
                <a:cubicBezTo>
                  <a:pt x="2035242" y="4801729"/>
                  <a:pt x="2054538" y="4801106"/>
                  <a:pt x="2086543" y="4800492"/>
                </a:cubicBezTo>
                <a:cubicBezTo>
                  <a:pt x="2093216" y="4800349"/>
                  <a:pt x="2106459" y="4800004"/>
                  <a:pt x="2103913" y="4794234"/>
                </a:cubicBezTo>
                <a:cubicBezTo>
                  <a:pt x="2101629" y="4789153"/>
                  <a:pt x="2091713" y="4787462"/>
                  <a:pt x="2079548" y="4785283"/>
                </a:cubicBezTo>
                <a:cubicBezTo>
                  <a:pt x="2068873" y="4783370"/>
                  <a:pt x="2053985" y="4782037"/>
                  <a:pt x="2040133" y="4783925"/>
                </a:cubicBezTo>
                <a:close/>
                <a:moveTo>
                  <a:pt x="2693180" y="4783845"/>
                </a:moveTo>
                <a:cubicBezTo>
                  <a:pt x="2690099" y="4783845"/>
                  <a:pt x="2688367" y="4784888"/>
                  <a:pt x="2687908" y="4787193"/>
                </a:cubicBezTo>
                <a:lnTo>
                  <a:pt x="2686686" y="4793401"/>
                </a:lnTo>
                <a:lnTo>
                  <a:pt x="2711152" y="4793401"/>
                </a:lnTo>
                <a:lnTo>
                  <a:pt x="2700957" y="4845421"/>
                </a:lnTo>
                <a:lnTo>
                  <a:pt x="2711925" y="4845421"/>
                </a:lnTo>
                <a:cubicBezTo>
                  <a:pt x="2715015" y="4845421"/>
                  <a:pt x="2716806" y="4844168"/>
                  <a:pt x="2717418" y="4841047"/>
                </a:cubicBezTo>
                <a:lnTo>
                  <a:pt x="2726773" y="4793401"/>
                </a:lnTo>
                <a:lnTo>
                  <a:pt x="2747198" y="4793401"/>
                </a:lnTo>
                <a:cubicBezTo>
                  <a:pt x="2750085" y="4793401"/>
                  <a:pt x="2751104" y="4792139"/>
                  <a:pt x="2751613" y="4789632"/>
                </a:cubicBezTo>
                <a:lnTo>
                  <a:pt x="2752734" y="4783845"/>
                </a:lnTo>
                <a:close/>
                <a:moveTo>
                  <a:pt x="2642813" y="4783845"/>
                </a:moveTo>
                <a:lnTo>
                  <a:pt x="2630732" y="4845421"/>
                </a:lnTo>
                <a:lnTo>
                  <a:pt x="2683324" y="4845421"/>
                </a:lnTo>
                <a:lnTo>
                  <a:pt x="2684462" y="4839659"/>
                </a:lnTo>
                <a:cubicBezTo>
                  <a:pt x="2684996" y="4836967"/>
                  <a:pt x="2684037" y="4835915"/>
                  <a:pt x="2681541" y="4835915"/>
                </a:cubicBezTo>
                <a:lnTo>
                  <a:pt x="2648203" y="4835915"/>
                </a:lnTo>
                <a:lnTo>
                  <a:pt x="2658017" y="4785931"/>
                </a:lnTo>
                <a:cubicBezTo>
                  <a:pt x="2658212" y="4784888"/>
                  <a:pt x="2657448" y="4783845"/>
                  <a:pt x="2656107" y="4783845"/>
                </a:cubicBezTo>
                <a:close/>
                <a:moveTo>
                  <a:pt x="2559124" y="4783845"/>
                </a:moveTo>
                <a:cubicBezTo>
                  <a:pt x="2557511" y="4783845"/>
                  <a:pt x="2556000" y="4784476"/>
                  <a:pt x="2555592" y="4786579"/>
                </a:cubicBezTo>
                <a:lnTo>
                  <a:pt x="2549480" y="4817947"/>
                </a:lnTo>
                <a:cubicBezTo>
                  <a:pt x="2545312" y="4840062"/>
                  <a:pt x="2556416" y="4846800"/>
                  <a:pt x="2578361" y="4846800"/>
                </a:cubicBezTo>
                <a:lnTo>
                  <a:pt x="2578361" y="4846792"/>
                </a:lnTo>
                <a:cubicBezTo>
                  <a:pt x="2604067" y="4846792"/>
                  <a:pt x="2613974" y="4838077"/>
                  <a:pt x="2618040" y="4817939"/>
                </a:cubicBezTo>
                <a:lnTo>
                  <a:pt x="2624127" y="4786579"/>
                </a:lnTo>
                <a:cubicBezTo>
                  <a:pt x="2624535" y="4784476"/>
                  <a:pt x="2623270" y="4783845"/>
                  <a:pt x="2621665" y="4783845"/>
                </a:cubicBezTo>
                <a:lnTo>
                  <a:pt x="2609228" y="4783845"/>
                </a:lnTo>
                <a:lnTo>
                  <a:pt x="2605816" y="4801889"/>
                </a:lnTo>
                <a:lnTo>
                  <a:pt x="2603863" y="4811495"/>
                </a:lnTo>
                <a:lnTo>
                  <a:pt x="2602233" y="4819840"/>
                </a:lnTo>
                <a:cubicBezTo>
                  <a:pt x="2599958" y="4831205"/>
                  <a:pt x="2592530" y="4836328"/>
                  <a:pt x="2579940" y="4836328"/>
                </a:cubicBezTo>
                <a:cubicBezTo>
                  <a:pt x="2566094" y="4836328"/>
                  <a:pt x="2562384" y="4831331"/>
                  <a:pt x="2564557" y="4819840"/>
                </a:cubicBezTo>
                <a:cubicBezTo>
                  <a:pt x="2564557" y="4819840"/>
                  <a:pt x="2565092" y="4816971"/>
                  <a:pt x="2565270" y="4816113"/>
                </a:cubicBezTo>
                <a:lnTo>
                  <a:pt x="2568140" y="4801897"/>
                </a:lnTo>
                <a:lnTo>
                  <a:pt x="2571561" y="4783845"/>
                </a:lnTo>
                <a:close/>
                <a:moveTo>
                  <a:pt x="2155095" y="4783845"/>
                </a:moveTo>
                <a:lnTo>
                  <a:pt x="2154909" y="4784644"/>
                </a:lnTo>
                <a:cubicBezTo>
                  <a:pt x="2153907" y="4788783"/>
                  <a:pt x="2154433" y="4793359"/>
                  <a:pt x="2161471" y="4793359"/>
                </a:cubicBezTo>
                <a:lnTo>
                  <a:pt x="2193833" y="4793359"/>
                </a:lnTo>
                <a:cubicBezTo>
                  <a:pt x="2209402" y="4793359"/>
                  <a:pt x="2211626" y="4801073"/>
                  <a:pt x="2208519" y="4814658"/>
                </a:cubicBezTo>
                <a:cubicBezTo>
                  <a:pt x="2205463" y="4828000"/>
                  <a:pt x="2200140" y="4834864"/>
                  <a:pt x="2188450" y="4835915"/>
                </a:cubicBezTo>
                <a:lnTo>
                  <a:pt x="2166284" y="4835915"/>
                </a:lnTo>
                <a:lnTo>
                  <a:pt x="2173127" y="4800963"/>
                </a:lnTo>
                <a:lnTo>
                  <a:pt x="2160028" y="4800963"/>
                </a:lnTo>
                <a:cubicBezTo>
                  <a:pt x="2158483" y="4800963"/>
                  <a:pt x="2157320" y="4802006"/>
                  <a:pt x="2157116" y="4803050"/>
                </a:cubicBezTo>
                <a:lnTo>
                  <a:pt x="2148796" y="4845421"/>
                </a:lnTo>
                <a:lnTo>
                  <a:pt x="2185606" y="4845421"/>
                </a:lnTo>
                <a:cubicBezTo>
                  <a:pt x="2206227" y="4845421"/>
                  <a:pt x="2220515" y="4837833"/>
                  <a:pt x="2224980" y="4814238"/>
                </a:cubicBezTo>
                <a:cubicBezTo>
                  <a:pt x="2228300" y="4796673"/>
                  <a:pt x="2220625" y="4783845"/>
                  <a:pt x="2199614" y="4783845"/>
                </a:cubicBezTo>
                <a:close/>
                <a:moveTo>
                  <a:pt x="2423480" y="4783660"/>
                </a:moveTo>
                <a:cubicBezTo>
                  <a:pt x="2407078" y="4783660"/>
                  <a:pt x="2397231" y="4783761"/>
                  <a:pt x="2394718" y="4795437"/>
                </a:cubicBezTo>
                <a:cubicBezTo>
                  <a:pt x="2392876" y="4804093"/>
                  <a:pt x="2399718" y="4808290"/>
                  <a:pt x="2413598" y="4816837"/>
                </a:cubicBezTo>
                <a:cubicBezTo>
                  <a:pt x="2428794" y="4826174"/>
                  <a:pt x="2432266" y="4826881"/>
                  <a:pt x="2430874" y="4831819"/>
                </a:cubicBezTo>
                <a:cubicBezTo>
                  <a:pt x="2429745" y="4835789"/>
                  <a:pt x="2425764" y="4835941"/>
                  <a:pt x="2418930" y="4835941"/>
                </a:cubicBezTo>
                <a:lnTo>
                  <a:pt x="2391865" y="4835941"/>
                </a:lnTo>
                <a:cubicBezTo>
                  <a:pt x="2388784" y="4835941"/>
                  <a:pt x="2386992" y="4837202"/>
                  <a:pt x="2386458" y="4839919"/>
                </a:cubicBezTo>
                <a:lnTo>
                  <a:pt x="2385388" y="4845421"/>
                </a:lnTo>
                <a:lnTo>
                  <a:pt x="2419515" y="4845421"/>
                </a:lnTo>
                <a:cubicBezTo>
                  <a:pt x="2435119" y="4845421"/>
                  <a:pt x="2444924" y="4844470"/>
                  <a:pt x="2448473" y="4834998"/>
                </a:cubicBezTo>
                <a:lnTo>
                  <a:pt x="2448481" y="4834998"/>
                </a:lnTo>
                <a:cubicBezTo>
                  <a:pt x="2450213" y="4830380"/>
                  <a:pt x="2450196" y="4825611"/>
                  <a:pt x="2445977" y="4820908"/>
                </a:cubicBezTo>
                <a:cubicBezTo>
                  <a:pt x="2443829" y="4818502"/>
                  <a:pt x="2440662" y="4816408"/>
                  <a:pt x="2436282" y="4813943"/>
                </a:cubicBezTo>
                <a:cubicBezTo>
                  <a:pt x="2416782" y="4803016"/>
                  <a:pt x="2411688" y="4801771"/>
                  <a:pt x="2412911" y="4796480"/>
                </a:cubicBezTo>
                <a:cubicBezTo>
                  <a:pt x="2413607" y="4793510"/>
                  <a:pt x="2415695" y="4793384"/>
                  <a:pt x="2423038" y="4793384"/>
                </a:cubicBezTo>
                <a:lnTo>
                  <a:pt x="2445909" y="4793384"/>
                </a:lnTo>
                <a:cubicBezTo>
                  <a:pt x="2448991" y="4793384"/>
                  <a:pt x="2450782" y="4792139"/>
                  <a:pt x="2451317" y="4789430"/>
                </a:cubicBezTo>
                <a:lnTo>
                  <a:pt x="2452446" y="4783660"/>
                </a:lnTo>
                <a:close/>
                <a:moveTo>
                  <a:pt x="2350776" y="4783660"/>
                </a:moveTo>
                <a:cubicBezTo>
                  <a:pt x="2334375" y="4783660"/>
                  <a:pt x="2324536" y="4783761"/>
                  <a:pt x="2322031" y="4795437"/>
                </a:cubicBezTo>
                <a:cubicBezTo>
                  <a:pt x="2320172" y="4804093"/>
                  <a:pt x="2327023" y="4808290"/>
                  <a:pt x="2340903" y="4816837"/>
                </a:cubicBezTo>
                <a:cubicBezTo>
                  <a:pt x="2356099" y="4826174"/>
                  <a:pt x="2359580" y="4826881"/>
                  <a:pt x="2358179" y="4831819"/>
                </a:cubicBezTo>
                <a:cubicBezTo>
                  <a:pt x="2357059" y="4835789"/>
                  <a:pt x="2353069" y="4835941"/>
                  <a:pt x="2346218" y="4835941"/>
                </a:cubicBezTo>
                <a:lnTo>
                  <a:pt x="2319179" y="4835941"/>
                </a:lnTo>
                <a:cubicBezTo>
                  <a:pt x="2316089" y="4835941"/>
                  <a:pt x="2314306" y="4837202"/>
                  <a:pt x="2313763" y="4839919"/>
                </a:cubicBezTo>
                <a:lnTo>
                  <a:pt x="2312684" y="4845421"/>
                </a:lnTo>
                <a:lnTo>
                  <a:pt x="2346812" y="4845421"/>
                </a:lnTo>
                <a:cubicBezTo>
                  <a:pt x="2362432" y="4845421"/>
                  <a:pt x="2372221" y="4844470"/>
                  <a:pt x="2375778" y="4834998"/>
                </a:cubicBezTo>
                <a:cubicBezTo>
                  <a:pt x="2377501" y="4830380"/>
                  <a:pt x="2377484" y="4825611"/>
                  <a:pt x="2373273" y="4820908"/>
                </a:cubicBezTo>
                <a:cubicBezTo>
                  <a:pt x="2371117" y="4818502"/>
                  <a:pt x="2367951" y="4816408"/>
                  <a:pt x="2363579" y="4813943"/>
                </a:cubicBezTo>
                <a:cubicBezTo>
                  <a:pt x="2344061" y="4803016"/>
                  <a:pt x="2338985" y="4801771"/>
                  <a:pt x="2340216" y="4796480"/>
                </a:cubicBezTo>
                <a:cubicBezTo>
                  <a:pt x="2340895" y="4793510"/>
                  <a:pt x="2342975" y="4793384"/>
                  <a:pt x="2350335" y="4793384"/>
                </a:cubicBezTo>
                <a:lnTo>
                  <a:pt x="2373197" y="4793384"/>
                </a:lnTo>
                <a:cubicBezTo>
                  <a:pt x="2376287" y="4793384"/>
                  <a:pt x="2378078" y="4792139"/>
                  <a:pt x="2378596" y="4789430"/>
                </a:cubicBezTo>
                <a:lnTo>
                  <a:pt x="2379742" y="4783660"/>
                </a:lnTo>
                <a:close/>
                <a:moveTo>
                  <a:pt x="2507381" y="4783012"/>
                </a:moveTo>
                <a:cubicBezTo>
                  <a:pt x="2485665" y="4783012"/>
                  <a:pt x="2473279" y="4788413"/>
                  <a:pt x="2468542" y="4811613"/>
                </a:cubicBezTo>
                <a:lnTo>
                  <a:pt x="2462446" y="4842704"/>
                </a:lnTo>
                <a:cubicBezTo>
                  <a:pt x="2462039" y="4844790"/>
                  <a:pt x="2463253" y="4845421"/>
                  <a:pt x="2464806" y="4845421"/>
                </a:cubicBezTo>
                <a:lnTo>
                  <a:pt x="2476556" y="4845421"/>
                </a:lnTo>
                <a:lnTo>
                  <a:pt x="2479985" y="4827520"/>
                </a:lnTo>
                <a:lnTo>
                  <a:pt x="2516592" y="4827520"/>
                </a:lnTo>
                <a:lnTo>
                  <a:pt x="2513171" y="4845421"/>
                </a:lnTo>
                <a:lnTo>
                  <a:pt x="2524928" y="4845421"/>
                </a:lnTo>
                <a:cubicBezTo>
                  <a:pt x="2526474" y="4845421"/>
                  <a:pt x="2527942" y="4844790"/>
                  <a:pt x="2528350" y="4842704"/>
                </a:cubicBezTo>
                <a:lnTo>
                  <a:pt x="2534454" y="4811613"/>
                </a:lnTo>
                <a:cubicBezTo>
                  <a:pt x="2538953" y="4788026"/>
                  <a:pt x="2525506" y="4783012"/>
                  <a:pt x="2507381" y="4783012"/>
                </a:cubicBezTo>
                <a:close/>
                <a:moveTo>
                  <a:pt x="2279015" y="4783012"/>
                </a:moveTo>
                <a:cubicBezTo>
                  <a:pt x="2257308" y="4783012"/>
                  <a:pt x="2244922" y="4788413"/>
                  <a:pt x="2240193" y="4811613"/>
                </a:cubicBezTo>
                <a:lnTo>
                  <a:pt x="2234081" y="4842704"/>
                </a:lnTo>
                <a:cubicBezTo>
                  <a:pt x="2233682" y="4844790"/>
                  <a:pt x="2234896" y="4845421"/>
                  <a:pt x="2236449" y="4845421"/>
                </a:cubicBezTo>
                <a:lnTo>
                  <a:pt x="2248199" y="4845421"/>
                </a:lnTo>
                <a:lnTo>
                  <a:pt x="2251620" y="4827520"/>
                </a:lnTo>
                <a:lnTo>
                  <a:pt x="2288235" y="4827520"/>
                </a:lnTo>
                <a:lnTo>
                  <a:pt x="2284814" y="4845421"/>
                </a:lnTo>
                <a:lnTo>
                  <a:pt x="2296572" y="4845421"/>
                </a:lnTo>
                <a:cubicBezTo>
                  <a:pt x="2298117" y="4845421"/>
                  <a:pt x="2299585" y="4844790"/>
                  <a:pt x="2299984" y="4842704"/>
                </a:cubicBezTo>
                <a:lnTo>
                  <a:pt x="2306097" y="4811613"/>
                </a:lnTo>
                <a:cubicBezTo>
                  <a:pt x="2310588" y="4788026"/>
                  <a:pt x="2297140" y="4783012"/>
                  <a:pt x="2279015" y="4783012"/>
                </a:cubicBezTo>
                <a:close/>
                <a:moveTo>
                  <a:pt x="1973014" y="4694493"/>
                </a:moveTo>
                <a:lnTo>
                  <a:pt x="1973014" y="4694501"/>
                </a:lnTo>
                <a:cubicBezTo>
                  <a:pt x="1949550" y="4695595"/>
                  <a:pt x="1928148" y="4701542"/>
                  <a:pt x="1929481" y="4706110"/>
                </a:cubicBezTo>
                <a:cubicBezTo>
                  <a:pt x="1931119" y="4711670"/>
                  <a:pt x="1947062" y="4710282"/>
                  <a:pt x="1953132" y="4710282"/>
                </a:cubicBezTo>
                <a:cubicBezTo>
                  <a:pt x="1975485" y="4710282"/>
                  <a:pt x="1997014" y="4714623"/>
                  <a:pt x="2002150" y="4720881"/>
                </a:cubicBezTo>
                <a:cubicBezTo>
                  <a:pt x="2010173" y="4730656"/>
                  <a:pt x="1996360" y="4754765"/>
                  <a:pt x="1953896" y="4787631"/>
                </a:cubicBezTo>
                <a:cubicBezTo>
                  <a:pt x="1945755" y="4793931"/>
                  <a:pt x="1939676" y="4799736"/>
                  <a:pt x="1938327" y="4802587"/>
                </a:cubicBezTo>
                <a:cubicBezTo>
                  <a:pt x="1937605" y="4804101"/>
                  <a:pt x="1937945" y="4806305"/>
                  <a:pt x="1940177" y="4806608"/>
                </a:cubicBezTo>
                <a:cubicBezTo>
                  <a:pt x="1942512" y="4806936"/>
                  <a:pt x="1948115" y="4805632"/>
                  <a:pt x="1957360" y="4800880"/>
                </a:cubicBezTo>
                <a:cubicBezTo>
                  <a:pt x="1995087" y="4781490"/>
                  <a:pt x="2038374" y="4741995"/>
                  <a:pt x="2029834" y="4714909"/>
                </a:cubicBezTo>
                <a:cubicBezTo>
                  <a:pt x="2024630" y="4698379"/>
                  <a:pt x="1996657" y="4693391"/>
                  <a:pt x="1973014" y="4694493"/>
                </a:cubicBezTo>
                <a:close/>
                <a:moveTo>
                  <a:pt x="460601" y="0"/>
                </a:moveTo>
                <a:lnTo>
                  <a:pt x="3086100" y="0"/>
                </a:lnTo>
                <a:lnTo>
                  <a:pt x="3086100" y="842036"/>
                </a:lnTo>
                <a:lnTo>
                  <a:pt x="3086100" y="1941749"/>
                </a:lnTo>
                <a:lnTo>
                  <a:pt x="3086100" y="3201749"/>
                </a:lnTo>
                <a:lnTo>
                  <a:pt x="3086100" y="3743118"/>
                </a:lnTo>
                <a:lnTo>
                  <a:pt x="3086100" y="5143499"/>
                </a:lnTo>
                <a:lnTo>
                  <a:pt x="547192" y="5143499"/>
                </a:lnTo>
                <a:lnTo>
                  <a:pt x="451948" y="4947929"/>
                </a:lnTo>
                <a:cubicBezTo>
                  <a:pt x="172711" y="4317060"/>
                  <a:pt x="0" y="3445523"/>
                  <a:pt x="0" y="2482849"/>
                </a:cubicBezTo>
                <a:cubicBezTo>
                  <a:pt x="0" y="1520175"/>
                  <a:pt x="172711" y="648637"/>
                  <a:pt x="451948" y="17768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noProof="0"/>
              <a:t>Insert image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59E770E7-D76C-413C-A66C-7411A35CE1B6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01468" y="4691064"/>
            <a:ext cx="908368" cy="277597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4E9C4E1D-6591-28A8-E40F-B5D82CEFB8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937" y="312223"/>
            <a:ext cx="5497200" cy="32316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100000"/>
              </a:lnSpc>
              <a:defRPr lang="en-US" sz="2000" b="0" i="0" strike="noStrike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SLIDE TITLE</a:t>
            </a:r>
          </a:p>
        </p:txBody>
      </p:sp>
      <p:sp>
        <p:nvSpPr>
          <p:cNvPr id="6" name="Footer Placeholder 12">
            <a:extLst>
              <a:ext uri="{FF2B5EF4-FFF2-40B4-BE49-F238E27FC236}">
                <a16:creationId xmlns:a16="http://schemas.microsoft.com/office/drawing/2014/main" id="{6AB57819-A99D-C942-A2B9-09141CB2814A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</p:spTree>
    <p:extLst>
      <p:ext uri="{BB962C8B-B14F-4D97-AF65-F5344CB8AC3E}">
        <p14:creationId xmlns:p14="http://schemas.microsoft.com/office/powerpoint/2010/main" val="35457809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4" name="think-cell data - do not delete" hidden="1">
            <a:extLst>
              <a:ext uri="{FF2B5EF4-FFF2-40B4-BE49-F238E27FC236}">
                <a16:creationId xmlns:a16="http://schemas.microsoft.com/office/drawing/2014/main" id="{092CA0BC-9AD3-0649-38AD-E6ED3F59CE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2911885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8" name="think-cell Slide" r:id="rId41" imgW="427" imgH="427" progId="TCLayout.ActiveDocument.1">
                  <p:embed/>
                </p:oleObj>
              </mc:Choice>
              <mc:Fallback>
                <p:oleObj name="think-cell Slide" r:id="rId41" imgW="427" imgH="4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34">
            <a:extLst>
              <a:ext uri="{FF2B5EF4-FFF2-40B4-BE49-F238E27FC236}">
                <a16:creationId xmlns:a16="http://schemas.microsoft.com/office/drawing/2014/main" id="{031861F6-5D81-4358-B65A-1492DF055224}"/>
              </a:ext>
            </a:extLst>
          </p:cNvPr>
          <p:cNvSpPr/>
          <p:nvPr/>
        </p:nvSpPr>
        <p:spPr>
          <a:xfrm>
            <a:off x="9233213" y="0"/>
            <a:ext cx="1514035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67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E7C0772-2C67-4FC9-BF5A-630A6EB792E9}"/>
              </a:ext>
            </a:extLst>
          </p:cNvPr>
          <p:cNvSpPr txBox="1"/>
          <p:nvPr/>
        </p:nvSpPr>
        <p:spPr>
          <a:xfrm>
            <a:off x="9330784" y="135768"/>
            <a:ext cx="1050878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900" b="1" dirty="0"/>
              <a:t>MAJOR COLORS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DA1BE230-E678-4417-B787-EF6A5E3A526F}"/>
              </a:ext>
            </a:extLst>
          </p:cNvPr>
          <p:cNvSpPr/>
          <p:nvPr/>
        </p:nvSpPr>
        <p:spPr>
          <a:xfrm>
            <a:off x="9330784" y="360892"/>
            <a:ext cx="230216" cy="153223"/>
          </a:xfrm>
          <a:prstGeom prst="rect">
            <a:avLst/>
          </a:prstGeom>
          <a:solidFill>
            <a:srgbClr val="0053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67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F7A86E9-AE96-4F55-BEE2-781A9DBFB7F3}"/>
              </a:ext>
            </a:extLst>
          </p:cNvPr>
          <p:cNvSpPr txBox="1"/>
          <p:nvPr/>
        </p:nvSpPr>
        <p:spPr>
          <a:xfrm>
            <a:off x="9617386" y="355964"/>
            <a:ext cx="1138506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en-US" sz="800" b="1" dirty="0"/>
              <a:t>RGB: 0 – 83 – 134 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0EB68B3B-4681-4AC3-8373-FE09B9B48B3E}"/>
              </a:ext>
            </a:extLst>
          </p:cNvPr>
          <p:cNvSpPr/>
          <p:nvPr/>
        </p:nvSpPr>
        <p:spPr>
          <a:xfrm>
            <a:off x="9330785" y="565390"/>
            <a:ext cx="230216" cy="15322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67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E1F1E8EB-E9D9-47DE-A1CA-6C6206E02261}"/>
              </a:ext>
            </a:extLst>
          </p:cNvPr>
          <p:cNvSpPr txBox="1"/>
          <p:nvPr/>
        </p:nvSpPr>
        <p:spPr>
          <a:xfrm>
            <a:off x="9617388" y="560056"/>
            <a:ext cx="1073473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en-US" sz="800" b="1" dirty="0">
                <a:solidFill>
                  <a:schemeClr val="accent6"/>
                </a:solidFill>
              </a:rPr>
              <a:t>RGB: 151 – 153 – 155 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2716E3AD-6518-4A21-AAA1-98779A4E7053}"/>
              </a:ext>
            </a:extLst>
          </p:cNvPr>
          <p:cNvSpPr/>
          <p:nvPr/>
        </p:nvSpPr>
        <p:spPr>
          <a:xfrm>
            <a:off x="9330785" y="789542"/>
            <a:ext cx="230216" cy="153223"/>
          </a:xfrm>
          <a:prstGeom prst="rect">
            <a:avLst/>
          </a:prstGeom>
          <a:solidFill>
            <a:srgbClr val="009F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67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768EEDF-3CDA-4830-9BF2-DF66A5F17CB2}"/>
              </a:ext>
            </a:extLst>
          </p:cNvPr>
          <p:cNvSpPr txBox="1"/>
          <p:nvPr/>
        </p:nvSpPr>
        <p:spPr>
          <a:xfrm>
            <a:off x="9617386" y="789856"/>
            <a:ext cx="1138506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en-US" sz="800" b="1" dirty="0">
                <a:solidFill>
                  <a:srgbClr val="009FDE"/>
                </a:solidFill>
              </a:rPr>
              <a:t>RGB: 0– 159 -222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D78339B3-514B-4028-8FB2-7CB0074C14B3}"/>
              </a:ext>
            </a:extLst>
          </p:cNvPr>
          <p:cNvSpPr txBox="1"/>
          <p:nvPr/>
        </p:nvSpPr>
        <p:spPr>
          <a:xfrm>
            <a:off x="9330784" y="1130709"/>
            <a:ext cx="1337480" cy="1945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900" b="1" dirty="0"/>
              <a:t>CATIA GEOVIA SIMULIA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0096E0CA-B367-4EC7-82A3-0851EA458762}"/>
              </a:ext>
            </a:extLst>
          </p:cNvPr>
          <p:cNvSpPr/>
          <p:nvPr/>
        </p:nvSpPr>
        <p:spPr>
          <a:xfrm>
            <a:off x="9330785" y="1363290"/>
            <a:ext cx="230216" cy="153223"/>
          </a:xfrm>
          <a:prstGeom prst="rect">
            <a:avLst/>
          </a:prstGeom>
          <a:solidFill>
            <a:srgbClr val="0018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67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9621EF1E-5A7D-415F-BDB9-34D9C690DE54}"/>
              </a:ext>
            </a:extLst>
          </p:cNvPr>
          <p:cNvSpPr txBox="1"/>
          <p:nvPr/>
        </p:nvSpPr>
        <p:spPr>
          <a:xfrm>
            <a:off x="9617387" y="1370651"/>
            <a:ext cx="907577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en-US" sz="800" b="1" dirty="0">
                <a:solidFill>
                  <a:srgbClr val="001871"/>
                </a:solidFill>
              </a:rPr>
              <a:t>RGB: 0 – 24 – 113 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4952E7E1-B9D3-4BBE-B0A9-23CE2912CF31}"/>
              </a:ext>
            </a:extLst>
          </p:cNvPr>
          <p:cNvSpPr txBox="1"/>
          <p:nvPr/>
        </p:nvSpPr>
        <p:spPr>
          <a:xfrm>
            <a:off x="9330784" y="1728918"/>
            <a:ext cx="1142338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900" b="1" dirty="0"/>
              <a:t>DELMIA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8542C699-5FA3-4DEE-A2F8-C8DD1B6CD74E}"/>
              </a:ext>
            </a:extLst>
          </p:cNvPr>
          <p:cNvSpPr/>
          <p:nvPr/>
        </p:nvSpPr>
        <p:spPr>
          <a:xfrm>
            <a:off x="9330785" y="1921517"/>
            <a:ext cx="230216" cy="153223"/>
          </a:xfrm>
          <a:prstGeom prst="rect">
            <a:avLst/>
          </a:prstGeom>
          <a:solidFill>
            <a:srgbClr val="FFC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67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BC5DB68D-E6F5-4138-8E62-FA279D51E821}"/>
              </a:ext>
            </a:extLst>
          </p:cNvPr>
          <p:cNvSpPr txBox="1"/>
          <p:nvPr/>
        </p:nvSpPr>
        <p:spPr>
          <a:xfrm>
            <a:off x="9617386" y="1928879"/>
            <a:ext cx="1050878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en-US" sz="800" b="1" dirty="0">
                <a:solidFill>
                  <a:schemeClr val="accent3"/>
                </a:solidFill>
              </a:rPr>
              <a:t>RGB: 255 – 205 – 0 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811AEAA8-AAA1-4B96-9942-4B1B7B7823A5}"/>
              </a:ext>
            </a:extLst>
          </p:cNvPr>
          <p:cNvSpPr txBox="1"/>
          <p:nvPr/>
        </p:nvSpPr>
        <p:spPr>
          <a:xfrm>
            <a:off x="9330784" y="2272066"/>
            <a:ext cx="1142338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900" b="1" dirty="0"/>
              <a:t>SOLIDWORKS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0520273E-6020-4480-82B8-8C9CCB149CC1}"/>
              </a:ext>
            </a:extLst>
          </p:cNvPr>
          <p:cNvSpPr/>
          <p:nvPr/>
        </p:nvSpPr>
        <p:spPr>
          <a:xfrm>
            <a:off x="9330785" y="2475355"/>
            <a:ext cx="230216" cy="153223"/>
          </a:xfrm>
          <a:prstGeom prst="rect">
            <a:avLst/>
          </a:prstGeom>
          <a:solidFill>
            <a:srgbClr val="DA2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67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9A1F0BCA-C87F-4466-B7DE-8C9A80D05C19}"/>
              </a:ext>
            </a:extLst>
          </p:cNvPr>
          <p:cNvSpPr txBox="1"/>
          <p:nvPr/>
        </p:nvSpPr>
        <p:spPr>
          <a:xfrm>
            <a:off x="9617387" y="2489285"/>
            <a:ext cx="1015054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en-US" sz="800" b="1" dirty="0">
                <a:solidFill>
                  <a:schemeClr val="bg2"/>
                </a:solidFill>
              </a:rPr>
              <a:t>RGB: 218 – 41 – 28 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3DFAA7F9-A611-4956-8FA1-356E19228FE6}"/>
              </a:ext>
            </a:extLst>
          </p:cNvPr>
          <p:cNvSpPr txBox="1"/>
          <p:nvPr/>
        </p:nvSpPr>
        <p:spPr>
          <a:xfrm>
            <a:off x="9330784" y="2852346"/>
            <a:ext cx="1142338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900" b="1" dirty="0"/>
              <a:t>BIOVIA MEDIDATA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CB26CB4D-733C-4980-9622-78FE3A204FBA}"/>
              </a:ext>
            </a:extLst>
          </p:cNvPr>
          <p:cNvSpPr/>
          <p:nvPr/>
        </p:nvSpPr>
        <p:spPr>
          <a:xfrm>
            <a:off x="9330785" y="3085688"/>
            <a:ext cx="230216" cy="15322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67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A870E94B-DB87-4A44-8E6E-32CFA023F4D4}"/>
              </a:ext>
            </a:extLst>
          </p:cNvPr>
          <p:cNvSpPr txBox="1"/>
          <p:nvPr/>
        </p:nvSpPr>
        <p:spPr>
          <a:xfrm>
            <a:off x="9617387" y="3092165"/>
            <a:ext cx="1015054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en-US" sz="800" b="1" dirty="0">
                <a:solidFill>
                  <a:schemeClr val="accent5"/>
                </a:solidFill>
              </a:rPr>
              <a:t>RGB: 200 – 211 – 0 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E079433B-3DAC-4CC1-B586-61C661F43220}"/>
              </a:ext>
            </a:extLst>
          </p:cNvPr>
          <p:cNvSpPr txBox="1"/>
          <p:nvPr/>
        </p:nvSpPr>
        <p:spPr>
          <a:xfrm>
            <a:off x="9330784" y="3429107"/>
            <a:ext cx="1142338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900" b="1" dirty="0"/>
              <a:t>ENOVIA NETVIBES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BD6DAEF1-9AFC-4B36-AFDF-522CC7764F78}"/>
              </a:ext>
            </a:extLst>
          </p:cNvPr>
          <p:cNvSpPr/>
          <p:nvPr/>
        </p:nvSpPr>
        <p:spPr>
          <a:xfrm>
            <a:off x="9330785" y="3632718"/>
            <a:ext cx="230216" cy="153223"/>
          </a:xfrm>
          <a:prstGeom prst="rect">
            <a:avLst/>
          </a:prstGeom>
          <a:solidFill>
            <a:srgbClr val="E877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67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51A14BCF-5C66-47DC-9498-B609DC66F253}"/>
              </a:ext>
            </a:extLst>
          </p:cNvPr>
          <p:cNvSpPr txBox="1"/>
          <p:nvPr/>
        </p:nvSpPr>
        <p:spPr>
          <a:xfrm>
            <a:off x="9617387" y="3634784"/>
            <a:ext cx="1015054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en-US" sz="800" b="1" dirty="0">
                <a:solidFill>
                  <a:schemeClr val="accent4"/>
                </a:solidFill>
              </a:rPr>
              <a:t>RGB: 232 – 119 - 34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89FE9FD2-AF61-474A-A33C-51EDA8E770AD}"/>
              </a:ext>
            </a:extLst>
          </p:cNvPr>
          <p:cNvSpPr txBox="1"/>
          <p:nvPr/>
        </p:nvSpPr>
        <p:spPr>
          <a:xfrm>
            <a:off x="9330784" y="4015990"/>
            <a:ext cx="1142338" cy="276999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l"/>
            <a:r>
              <a:rPr lang="en-US" sz="900" b="1" dirty="0"/>
              <a:t>3DEXCITE 3DVIA CENTRIC PLM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1FD0F2B2-B02C-46E7-90AE-9C973EAD1E9B}"/>
              </a:ext>
            </a:extLst>
          </p:cNvPr>
          <p:cNvSpPr/>
          <p:nvPr/>
        </p:nvSpPr>
        <p:spPr>
          <a:xfrm>
            <a:off x="9330785" y="4354357"/>
            <a:ext cx="230216" cy="153223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67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A692D968-AD39-4813-A224-2A429A9E5748}"/>
              </a:ext>
            </a:extLst>
          </p:cNvPr>
          <p:cNvSpPr txBox="1"/>
          <p:nvPr/>
        </p:nvSpPr>
        <p:spPr>
          <a:xfrm>
            <a:off x="9617387" y="4361719"/>
            <a:ext cx="907577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en-US" sz="800" b="1" dirty="0">
                <a:solidFill>
                  <a:srgbClr val="000000"/>
                </a:solidFill>
              </a:rPr>
              <a:t>RGB: 0 – 0 – 0 </a:t>
            </a: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BD861F6A-2CC3-4447-B8B4-098679C794C8}"/>
              </a:ext>
            </a:extLst>
          </p:cNvPr>
          <p:cNvCxnSpPr>
            <a:cxnSpLocks/>
          </p:cNvCxnSpPr>
          <p:nvPr/>
        </p:nvCxnSpPr>
        <p:spPr>
          <a:xfrm flipV="1">
            <a:off x="9330784" y="1043955"/>
            <a:ext cx="1142338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3EAB7F4D-68A8-455B-8DF4-9D098C9AC3F5}"/>
              </a:ext>
            </a:extLst>
          </p:cNvPr>
          <p:cNvCxnSpPr>
            <a:cxnSpLocks/>
          </p:cNvCxnSpPr>
          <p:nvPr/>
        </p:nvCxnSpPr>
        <p:spPr>
          <a:xfrm flipV="1">
            <a:off x="9330784" y="1645388"/>
            <a:ext cx="1142338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0C4E6F85-8C3B-435C-BEE0-F92A4DDDA1CF}"/>
              </a:ext>
            </a:extLst>
          </p:cNvPr>
          <p:cNvCxnSpPr>
            <a:cxnSpLocks/>
          </p:cNvCxnSpPr>
          <p:nvPr/>
        </p:nvCxnSpPr>
        <p:spPr>
          <a:xfrm flipV="1">
            <a:off x="9330784" y="2170848"/>
            <a:ext cx="1142338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A68CD64D-44FD-4841-8A19-1545816E1E14}"/>
              </a:ext>
            </a:extLst>
          </p:cNvPr>
          <p:cNvCxnSpPr>
            <a:cxnSpLocks/>
          </p:cNvCxnSpPr>
          <p:nvPr/>
        </p:nvCxnSpPr>
        <p:spPr>
          <a:xfrm flipV="1">
            <a:off x="9330784" y="2757110"/>
            <a:ext cx="1142338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00855EC2-57B0-4992-BCD3-FE04444E41E8}"/>
              </a:ext>
            </a:extLst>
          </p:cNvPr>
          <p:cNvCxnSpPr>
            <a:cxnSpLocks/>
          </p:cNvCxnSpPr>
          <p:nvPr/>
        </p:nvCxnSpPr>
        <p:spPr>
          <a:xfrm flipV="1">
            <a:off x="9330784" y="3327786"/>
            <a:ext cx="1142338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EE2AC67F-881A-4A16-A8CF-8B1D526AAEDA}"/>
              </a:ext>
            </a:extLst>
          </p:cNvPr>
          <p:cNvCxnSpPr>
            <a:cxnSpLocks/>
          </p:cNvCxnSpPr>
          <p:nvPr/>
        </p:nvCxnSpPr>
        <p:spPr>
          <a:xfrm flipV="1">
            <a:off x="9330784" y="3911458"/>
            <a:ext cx="1142338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486FF28B-CA4A-FA17-E9B3-94569036A55F}"/>
              </a:ext>
            </a:extLst>
          </p:cNvPr>
          <p:cNvCxnSpPr>
            <a:cxnSpLocks/>
          </p:cNvCxnSpPr>
          <p:nvPr/>
        </p:nvCxnSpPr>
        <p:spPr>
          <a:xfrm flipV="1">
            <a:off x="9330784" y="4638732"/>
            <a:ext cx="1142338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0994DC68-94CF-24D2-3A71-BF8D989118A2}"/>
              </a:ext>
            </a:extLst>
          </p:cNvPr>
          <p:cNvSpPr/>
          <p:nvPr/>
        </p:nvSpPr>
        <p:spPr>
          <a:xfrm>
            <a:off x="9330785" y="4914789"/>
            <a:ext cx="230216" cy="153223"/>
          </a:xfrm>
          <a:prstGeom prst="rect">
            <a:avLst/>
          </a:prstGeom>
          <a:solidFill>
            <a:srgbClr val="1B22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67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D5FE39B-BEA7-6B1D-BF87-D31DCF885592}"/>
              </a:ext>
            </a:extLst>
          </p:cNvPr>
          <p:cNvSpPr txBox="1"/>
          <p:nvPr/>
        </p:nvSpPr>
        <p:spPr>
          <a:xfrm>
            <a:off x="9617387" y="4922151"/>
            <a:ext cx="907577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en-US" sz="800" b="1" dirty="0">
                <a:solidFill>
                  <a:srgbClr val="000000"/>
                </a:solidFill>
              </a:rPr>
              <a:t>RGB: 27 – 34 – 61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969BCD5-B2AE-3A28-40A0-418B4B8AD9D1}"/>
              </a:ext>
            </a:extLst>
          </p:cNvPr>
          <p:cNvSpPr txBox="1"/>
          <p:nvPr/>
        </p:nvSpPr>
        <p:spPr>
          <a:xfrm>
            <a:off x="9330784" y="4714824"/>
            <a:ext cx="1142338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900" b="1" dirty="0"/>
              <a:t>OUTSCALE</a:t>
            </a:r>
          </a:p>
        </p:txBody>
      </p:sp>
    </p:spTree>
    <p:extLst>
      <p:ext uri="{BB962C8B-B14F-4D97-AF65-F5344CB8AC3E}">
        <p14:creationId xmlns:p14="http://schemas.microsoft.com/office/powerpoint/2010/main" val="23325390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589" r:id="rId1"/>
    <p:sldLayoutId id="2147486590" r:id="rId2"/>
    <p:sldLayoutId id="2147486591" r:id="rId3"/>
    <p:sldLayoutId id="2147486592" r:id="rId4"/>
    <p:sldLayoutId id="2147486593" r:id="rId5"/>
    <p:sldLayoutId id="2147486594" r:id="rId6"/>
    <p:sldLayoutId id="2147486595" r:id="rId7"/>
    <p:sldLayoutId id="2147486596" r:id="rId8"/>
    <p:sldLayoutId id="2147486597" r:id="rId9"/>
    <p:sldLayoutId id="2147486598" r:id="rId10"/>
    <p:sldLayoutId id="2147486599" r:id="rId11"/>
    <p:sldLayoutId id="2147486600" r:id="rId12"/>
    <p:sldLayoutId id="2147486601" r:id="rId13"/>
    <p:sldLayoutId id="2147486602" r:id="rId14"/>
    <p:sldLayoutId id="2147486603" r:id="rId15"/>
    <p:sldLayoutId id="2147486604" r:id="rId16"/>
    <p:sldLayoutId id="2147486605" r:id="rId17"/>
    <p:sldLayoutId id="2147486606" r:id="rId18"/>
    <p:sldLayoutId id="2147486607" r:id="rId19"/>
    <p:sldLayoutId id="2147486608" r:id="rId20"/>
    <p:sldLayoutId id="2147486609" r:id="rId21"/>
    <p:sldLayoutId id="2147486610" r:id="rId22"/>
    <p:sldLayoutId id="2147486611" r:id="rId23"/>
    <p:sldLayoutId id="2147486612" r:id="rId24"/>
    <p:sldLayoutId id="2147486613" r:id="rId25"/>
    <p:sldLayoutId id="2147486614" r:id="rId26"/>
    <p:sldLayoutId id="2147486615" r:id="rId27"/>
    <p:sldLayoutId id="2147486616" r:id="rId28"/>
    <p:sldLayoutId id="2147486617" r:id="rId29"/>
    <p:sldLayoutId id="2147486618" r:id="rId30"/>
    <p:sldLayoutId id="2147486619" r:id="rId31"/>
    <p:sldLayoutId id="2147486620" r:id="rId32"/>
    <p:sldLayoutId id="2147486621" r:id="rId33"/>
    <p:sldLayoutId id="2147486622" r:id="rId34"/>
    <p:sldLayoutId id="2147486623" r:id="rId35"/>
    <p:sldLayoutId id="2147486624" r:id="rId36"/>
    <p:sldLayoutId id="2147486625" r:id="rId37"/>
  </p:sldLayoutIdLst>
  <p:hf sldNum="0" hdr="0" ftr="0" dt="0"/>
  <p:txStyles>
    <p:titleStyle>
      <a:lvl1pPr algn="l" defTabSz="914378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2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8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vi-VN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24.png"/><Relationship Id="rId4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5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13" Type="http://schemas.openxmlformats.org/officeDocument/2006/relationships/image" Target="../media/image13.png"/><Relationship Id="rId18" Type="http://schemas.openxmlformats.org/officeDocument/2006/relationships/hyperlink" Target="http://www.3ds.com/" TargetMode="External"/><Relationship Id="rId3" Type="http://schemas.openxmlformats.org/officeDocument/2006/relationships/hyperlink" Target="https://fr.linkedin.com/company/dassaultsystemes" TargetMode="External"/><Relationship Id="rId7" Type="http://schemas.openxmlformats.org/officeDocument/2006/relationships/image" Target="../media/image11.png"/><Relationship Id="rId12" Type="http://schemas.openxmlformats.org/officeDocument/2006/relationships/hyperlink" Target="https://www.instagram.com/dassaultsystemes" TargetMode="External"/><Relationship Id="rId17" Type="http://schemas.openxmlformats.org/officeDocument/2006/relationships/image" Target="../media/image23.sv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14.png"/><Relationship Id="rId1" Type="http://schemas.openxmlformats.org/officeDocument/2006/relationships/slideLayout" Target="../slideLayouts/slideLayout36.xml"/><Relationship Id="rId6" Type="http://schemas.openxmlformats.org/officeDocument/2006/relationships/hyperlink" Target="https://www.youtube.com/dassaultsystemes" TargetMode="External"/><Relationship Id="rId11" Type="http://schemas.openxmlformats.org/officeDocument/2006/relationships/image" Target="../media/image19.svg"/><Relationship Id="rId5" Type="http://schemas.openxmlformats.org/officeDocument/2006/relationships/image" Target="../media/image15.svg"/><Relationship Id="rId15" Type="http://schemas.openxmlformats.org/officeDocument/2006/relationships/hyperlink" Target="https://www.tiktok.com/@dassaultsystemes" TargetMode="External"/><Relationship Id="rId10" Type="http://schemas.openxmlformats.org/officeDocument/2006/relationships/image" Target="../media/image12.png"/><Relationship Id="rId19" Type="http://schemas.openxmlformats.org/officeDocument/2006/relationships/hyperlink" Target="https://twitter.com/dassault3ds" TargetMode="External"/><Relationship Id="rId4" Type="http://schemas.openxmlformats.org/officeDocument/2006/relationships/image" Target="../media/image10.png"/><Relationship Id="rId9" Type="http://schemas.openxmlformats.org/officeDocument/2006/relationships/hyperlink" Target="http://facebook.com/DassaultSystemes/" TargetMode="External"/><Relationship Id="rId14" Type="http://schemas.openxmlformats.org/officeDocument/2006/relationships/image" Target="../media/image21.sv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letta.com/advanced/memory_management" TargetMode="External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arxiv.org/pdf/2310.08560v2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E76DFD9-D339-1F46-4A09-3E0854F7D52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45696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3" name="think-cell Slide" r:id="rId5" imgW="427" imgH="427" progId="TCLayout.ActiveDocument.1">
                  <p:embed/>
                </p:oleObj>
              </mc:Choice>
              <mc:Fallback>
                <p:oleObj name="think-cell Slide" r:id="rId5" imgW="427" imgH="4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C7F7C40-DB92-7C4B-A2EE-CC74043868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smtClean="0"/>
              <a:t>Generative system design: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Memory architectu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94493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5296" y="312223"/>
            <a:ext cx="8286436" cy="323165"/>
          </a:xfrm>
        </p:spPr>
        <p:txBody>
          <a:bodyPr/>
          <a:lstStyle/>
          <a:p>
            <a:pPr algn="ctr"/>
            <a:r>
              <a:rPr lang="en-US" dirty="0" smtClean="0"/>
              <a:t>State memory schematics – Main tables</a:t>
            </a:r>
            <a:endParaRPr lang="en-US" dirty="0"/>
          </a:p>
        </p:txBody>
      </p:sp>
      <p:grpSp>
        <p:nvGrpSpPr>
          <p:cNvPr id="8" name="Group 7"/>
          <p:cNvGrpSpPr/>
          <p:nvPr/>
        </p:nvGrpSpPr>
        <p:grpSpPr>
          <a:xfrm>
            <a:off x="475296" y="798490"/>
            <a:ext cx="3832544" cy="1899634"/>
            <a:chOff x="475296" y="798490"/>
            <a:chExt cx="3832544" cy="1899634"/>
          </a:xfrm>
        </p:grpSpPr>
        <p:sp>
          <p:nvSpPr>
            <p:cNvPr id="28" name="Rectangle 27"/>
            <p:cNvSpPr/>
            <p:nvPr/>
          </p:nvSpPr>
          <p:spPr>
            <a:xfrm>
              <a:off x="475296" y="798490"/>
              <a:ext cx="3832544" cy="1899634"/>
            </a:xfrm>
            <a:prstGeom prst="rect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05065" y="815623"/>
              <a:ext cx="3203807" cy="1841328"/>
            </a:xfrm>
            <a:prstGeom prst="rect">
              <a:avLst/>
            </a:prstGeom>
          </p:spPr>
        </p:pic>
      </p:grpSp>
      <p:grpSp>
        <p:nvGrpSpPr>
          <p:cNvPr id="10" name="Group 9"/>
          <p:cNvGrpSpPr/>
          <p:nvPr/>
        </p:nvGrpSpPr>
        <p:grpSpPr>
          <a:xfrm>
            <a:off x="492813" y="2802232"/>
            <a:ext cx="3815027" cy="2091739"/>
            <a:chOff x="492813" y="2802232"/>
            <a:chExt cx="3815027" cy="2091739"/>
          </a:xfrm>
        </p:grpSpPr>
        <p:sp>
          <p:nvSpPr>
            <p:cNvPr id="29" name="Rectangle 28"/>
            <p:cNvSpPr/>
            <p:nvPr/>
          </p:nvSpPr>
          <p:spPr>
            <a:xfrm>
              <a:off x="492813" y="2802232"/>
              <a:ext cx="3815027" cy="2091739"/>
            </a:xfrm>
            <a:prstGeom prst="rect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72519" y="2883790"/>
              <a:ext cx="3347485" cy="1984552"/>
            </a:xfrm>
            <a:prstGeom prst="rect">
              <a:avLst/>
            </a:prstGeom>
          </p:spPr>
        </p:pic>
      </p:grpSp>
      <p:grpSp>
        <p:nvGrpSpPr>
          <p:cNvPr id="9" name="Group 8"/>
          <p:cNvGrpSpPr/>
          <p:nvPr/>
        </p:nvGrpSpPr>
        <p:grpSpPr>
          <a:xfrm>
            <a:off x="4567528" y="798490"/>
            <a:ext cx="4073681" cy="1999457"/>
            <a:chOff x="4567528" y="798490"/>
            <a:chExt cx="4073681" cy="1999457"/>
          </a:xfrm>
        </p:grpSpPr>
        <p:sp>
          <p:nvSpPr>
            <p:cNvPr id="30" name="Rectangle 29"/>
            <p:cNvSpPr/>
            <p:nvPr/>
          </p:nvSpPr>
          <p:spPr>
            <a:xfrm>
              <a:off x="4567528" y="798490"/>
              <a:ext cx="4073681" cy="1999457"/>
            </a:xfrm>
            <a:prstGeom prst="rect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940324" y="859776"/>
              <a:ext cx="3021085" cy="1864005"/>
            </a:xfrm>
            <a:prstGeom prst="rect">
              <a:avLst/>
            </a:prstGeom>
          </p:spPr>
        </p:pic>
      </p:grpSp>
      <p:grpSp>
        <p:nvGrpSpPr>
          <p:cNvPr id="11" name="Group 10"/>
          <p:cNvGrpSpPr/>
          <p:nvPr/>
        </p:nvGrpSpPr>
        <p:grpSpPr>
          <a:xfrm>
            <a:off x="4586845" y="2918093"/>
            <a:ext cx="4054365" cy="1975878"/>
            <a:chOff x="4586845" y="2918093"/>
            <a:chExt cx="4054365" cy="1975878"/>
          </a:xfrm>
        </p:grpSpPr>
        <p:sp>
          <p:nvSpPr>
            <p:cNvPr id="31" name="Rectangle 30"/>
            <p:cNvSpPr/>
            <p:nvPr/>
          </p:nvSpPr>
          <p:spPr>
            <a:xfrm>
              <a:off x="4586845" y="2918093"/>
              <a:ext cx="4054365" cy="1975878"/>
            </a:xfrm>
            <a:prstGeom prst="rect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867900" y="2950290"/>
              <a:ext cx="3303746" cy="189860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50093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State memory – association tables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965916" y="727656"/>
            <a:ext cx="3485824" cy="1787128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965915" y="2657755"/>
            <a:ext cx="3485825" cy="1837004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4857271" y="2696624"/>
            <a:ext cx="3485825" cy="1780828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3151" y="778359"/>
            <a:ext cx="3051352" cy="1716076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97768" y="2726228"/>
            <a:ext cx="2845015" cy="1721725"/>
          </a:xfrm>
          <a:prstGeom prst="rect">
            <a:avLst/>
          </a:prstGeom>
        </p:spPr>
      </p:pic>
      <p:grpSp>
        <p:nvGrpSpPr>
          <p:cNvPr id="20" name="Group 19"/>
          <p:cNvGrpSpPr/>
          <p:nvPr/>
        </p:nvGrpSpPr>
        <p:grpSpPr>
          <a:xfrm>
            <a:off x="4857272" y="727656"/>
            <a:ext cx="3485825" cy="1837004"/>
            <a:chOff x="4857272" y="727656"/>
            <a:chExt cx="3485825" cy="1837004"/>
          </a:xfrm>
        </p:grpSpPr>
        <p:sp>
          <p:nvSpPr>
            <p:cNvPr id="12" name="Rectangle 11"/>
            <p:cNvSpPr/>
            <p:nvPr/>
          </p:nvSpPr>
          <p:spPr>
            <a:xfrm>
              <a:off x="4857272" y="727656"/>
              <a:ext cx="3485825" cy="1837004"/>
            </a:xfrm>
            <a:prstGeom prst="rect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066244" y="762475"/>
              <a:ext cx="2905780" cy="1715749"/>
            </a:xfrm>
            <a:prstGeom prst="rect">
              <a:avLst/>
            </a:prstGeom>
          </p:spPr>
        </p:pic>
      </p:grpSp>
      <p:pic>
        <p:nvPicPr>
          <p:cNvPr id="18" name="Picture 1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97556" y="2823711"/>
            <a:ext cx="2662460" cy="1561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1110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State memory - </a:t>
            </a:r>
            <a:r>
              <a:rPr lang="en-US" dirty="0"/>
              <a:t>association tables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2557466" y="946597"/>
            <a:ext cx="4029737" cy="2408349"/>
            <a:chOff x="332513" y="753414"/>
            <a:chExt cx="4029737" cy="2408349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2938" y="753414"/>
              <a:ext cx="3979312" cy="2408349"/>
            </a:xfrm>
            <a:prstGeom prst="rect">
              <a:avLst/>
            </a:prstGeom>
          </p:spPr>
        </p:pic>
        <p:sp>
          <p:nvSpPr>
            <p:cNvPr id="9" name="Rectangle 8"/>
            <p:cNvSpPr/>
            <p:nvPr/>
          </p:nvSpPr>
          <p:spPr>
            <a:xfrm>
              <a:off x="332513" y="753414"/>
              <a:ext cx="4029737" cy="2408349"/>
            </a:xfrm>
            <a:prstGeom prst="rect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04136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6"/>
          </p:nvPr>
        </p:nvSpPr>
        <p:spPr>
          <a:xfrm>
            <a:off x="382904" y="854926"/>
            <a:ext cx="8378827" cy="4225073"/>
          </a:xfrm>
        </p:spPr>
        <p:txBody>
          <a:bodyPr/>
          <a:lstStyle/>
          <a:p>
            <a:r>
              <a:rPr lang="en-US" sz="1500" b="1" dirty="0"/>
              <a:t>Overcoming LLM Limitations</a:t>
            </a:r>
            <a:r>
              <a:rPr lang="en-US" sz="1500" b="1" dirty="0" smtClean="0"/>
              <a:t>:</a:t>
            </a:r>
          </a:p>
          <a:p>
            <a:pPr marL="401395" lvl="1" indent="-228600">
              <a:buFont typeface="+mj-lt"/>
              <a:buAutoNum type="arabicPeriod"/>
            </a:pPr>
            <a:r>
              <a:rPr lang="en-US" b="1" dirty="0" smtClean="0"/>
              <a:t>Context consistency:</a:t>
            </a:r>
          </a:p>
          <a:p>
            <a:pPr lvl="2"/>
            <a:r>
              <a:rPr lang="en-US" dirty="0" smtClean="0"/>
              <a:t>State Memory ensures the context in AI-Backend is always consistent with client side.</a:t>
            </a:r>
          </a:p>
          <a:p>
            <a:pPr lvl="2"/>
            <a:r>
              <a:rPr lang="en-US" dirty="0"/>
              <a:t>Prevents the LLM from generating </a:t>
            </a:r>
            <a:r>
              <a:rPr lang="en-US" dirty="0" smtClean="0"/>
              <a:t>off-topic – because we will always </a:t>
            </a:r>
            <a:r>
              <a:rPr lang="en-US" b="1" dirty="0" smtClean="0"/>
              <a:t>compute context </a:t>
            </a:r>
            <a:r>
              <a:rPr lang="en-US" dirty="0" smtClean="0"/>
              <a:t>from state memory before calling LLM</a:t>
            </a:r>
          </a:p>
          <a:p>
            <a:pPr marL="401395" lvl="1" indent="-228600">
              <a:buFont typeface="+mj-lt"/>
              <a:buAutoNum type="arabicPeriod"/>
            </a:pPr>
            <a:r>
              <a:rPr lang="en-US" b="1" dirty="0" smtClean="0"/>
              <a:t>Token Limit Management:</a:t>
            </a:r>
            <a:endParaRPr lang="en-US" dirty="0" smtClean="0"/>
          </a:p>
          <a:p>
            <a:pPr lvl="2"/>
            <a:r>
              <a:rPr lang="en-US" dirty="0" smtClean="0"/>
              <a:t>Avoids </a:t>
            </a:r>
            <a:r>
              <a:rPr lang="en-US" dirty="0"/>
              <a:t>exceeding token limits by selectively </a:t>
            </a:r>
            <a:r>
              <a:rPr lang="en-US" dirty="0" smtClean="0"/>
              <a:t>retrieving(if needed)</a:t>
            </a:r>
            <a:endParaRPr lang="en-US" dirty="0"/>
          </a:p>
          <a:p>
            <a:pPr marL="401395" lvl="1" indent="-228600">
              <a:buFont typeface="+mj-lt"/>
              <a:buAutoNum type="arabicPeriod"/>
            </a:pPr>
            <a:r>
              <a:rPr lang="en-US" b="1" dirty="0" smtClean="0"/>
              <a:t>Client Side CRUD operations are in sync with backend</a:t>
            </a:r>
          </a:p>
          <a:p>
            <a:pPr lvl="2"/>
            <a:r>
              <a:rPr lang="en-US" dirty="0" smtClean="0"/>
              <a:t>Non-AI CRUD operation on client side is being communicated back to the backend hence AI-Backend will always be in sync.</a:t>
            </a:r>
            <a:endParaRPr lang="en-US" dirty="0"/>
          </a:p>
          <a:p>
            <a:pPr marL="401395" lvl="1" indent="-228600">
              <a:buFont typeface="+mj-lt"/>
              <a:buAutoNum type="arabicPeriod"/>
            </a:pPr>
            <a:r>
              <a:rPr lang="en-US" b="1" dirty="0"/>
              <a:t>Reduced LLM </a:t>
            </a:r>
            <a:r>
              <a:rPr lang="en-US" b="1" dirty="0" smtClean="0"/>
              <a:t>Calls</a:t>
            </a:r>
            <a:r>
              <a:rPr lang="en-US" b="1" dirty="0" smtClean="0">
                <a:sym typeface="Wingdings" panose="05000000000000000000" pitchFamily="2" charset="2"/>
              </a:rPr>
              <a:t>(TBD with Client)</a:t>
            </a:r>
            <a:endParaRPr lang="en-US" dirty="0"/>
          </a:p>
          <a:p>
            <a:pPr lvl="2"/>
            <a:r>
              <a:rPr lang="en-US" dirty="0" smtClean="0"/>
              <a:t>Request schema introduced a few more parameters with the help of which LLM don’t have to categorize the type of question.</a:t>
            </a:r>
            <a:endParaRPr lang="en-US" dirty="0"/>
          </a:p>
          <a:p>
            <a:r>
              <a:rPr lang="en-US" sz="1500" b="1" dirty="0"/>
              <a:t>Enhanced Functionality:</a:t>
            </a:r>
          </a:p>
          <a:p>
            <a:pPr lvl="1"/>
            <a:r>
              <a:rPr lang="en-US" b="1" dirty="0"/>
              <a:t>Multi-user Support:</a:t>
            </a:r>
            <a:endParaRPr lang="en-US" dirty="0"/>
          </a:p>
          <a:p>
            <a:pPr lvl="2"/>
            <a:r>
              <a:rPr lang="en-US" dirty="0" smtClean="0"/>
              <a:t>We have the database hence we can support multiuser support. Each user will have its own database.</a:t>
            </a:r>
            <a:endParaRPr lang="en-US" dirty="0"/>
          </a:p>
          <a:p>
            <a:pPr lvl="2"/>
            <a:r>
              <a:rPr lang="en-US" dirty="0"/>
              <a:t>Each user session can have distinct state handling.</a:t>
            </a:r>
          </a:p>
          <a:p>
            <a:pPr lvl="1"/>
            <a:r>
              <a:rPr lang="en-US" b="1" dirty="0"/>
              <a:t>Alignment with Agentic Frameworks:</a:t>
            </a:r>
            <a:endParaRPr lang="en-US" dirty="0"/>
          </a:p>
          <a:p>
            <a:pPr lvl="2"/>
            <a:r>
              <a:rPr lang="en-US" dirty="0"/>
              <a:t>The design aligns with established frameworks, making it easier to adopt industry best practices and scale.</a:t>
            </a:r>
          </a:p>
          <a:p>
            <a:pPr lvl="1"/>
            <a:r>
              <a:rPr lang="en-US" b="1" dirty="0"/>
              <a:t>Data Integrity and Export:</a:t>
            </a:r>
            <a:endParaRPr lang="en-US" dirty="0"/>
          </a:p>
          <a:p>
            <a:pPr lvl="2"/>
            <a:r>
              <a:rPr lang="en-US" dirty="0"/>
              <a:t>Persistent storage ensures no loss of data.</a:t>
            </a:r>
          </a:p>
          <a:p>
            <a:pPr lvl="2"/>
            <a:r>
              <a:rPr lang="en-US" dirty="0"/>
              <a:t>Historical states can be exported for analysis or debugging.</a:t>
            </a:r>
          </a:p>
          <a:p>
            <a:r>
              <a:rPr lang="en-US" sz="1500" b="1" dirty="0" smtClean="0">
                <a:solidFill>
                  <a:srgbClr val="7030A0"/>
                </a:solidFill>
              </a:rPr>
              <a:t>Speed</a:t>
            </a:r>
            <a:r>
              <a:rPr lang="en-US" b="1" dirty="0" smtClean="0">
                <a:solidFill>
                  <a:srgbClr val="7030A0"/>
                </a:solidFill>
              </a:rPr>
              <a:t>: Storing </a:t>
            </a:r>
            <a:r>
              <a:rPr lang="en-US" b="1" dirty="0">
                <a:solidFill>
                  <a:srgbClr val="7030A0"/>
                </a:solidFill>
              </a:rPr>
              <a:t>pre-processed data avoids the inefficiency of feeding entire histories into the LLM for each interaction.</a:t>
            </a:r>
          </a:p>
          <a:p>
            <a:pPr lvl="2"/>
            <a:endParaRPr lang="en-US" dirty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vantages of Using a </a:t>
            </a:r>
            <a:r>
              <a:rPr lang="en-US" dirty="0" smtClean="0"/>
              <a:t>Database as memo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6623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en-US" b="1" dirty="0" smtClean="0"/>
              <a:t>Caching </a:t>
            </a:r>
            <a:r>
              <a:rPr lang="en-US" b="1" dirty="0"/>
              <a:t>Layer:</a:t>
            </a:r>
            <a:r>
              <a:rPr lang="en-US" dirty="0"/>
              <a:t> Implementing an intermediate caching mechanism for even faster retrieval of recent states.</a:t>
            </a:r>
          </a:p>
          <a:p>
            <a:r>
              <a:rPr lang="en-US" b="1" dirty="0"/>
              <a:t>Version Control for States:</a:t>
            </a:r>
            <a:r>
              <a:rPr lang="en-US" dirty="0"/>
              <a:t> </a:t>
            </a:r>
            <a:r>
              <a:rPr lang="en-US" dirty="0" smtClean="0"/>
              <a:t>Using some versioning systems </a:t>
            </a:r>
            <a:r>
              <a:rPr lang="en-US" dirty="0"/>
              <a:t>for fine-grained tracking of state changes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Potential Enhancements</a:t>
            </a:r>
          </a:p>
        </p:txBody>
      </p:sp>
    </p:spTree>
    <p:extLst>
      <p:ext uri="{BB962C8B-B14F-4D97-AF65-F5344CB8AC3E}">
        <p14:creationId xmlns:p14="http://schemas.microsoft.com/office/powerpoint/2010/main" val="437229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en-US" sz="500" b="1" dirty="0"/>
              <a:t>Steps to tackle Memory Architecture</a:t>
            </a:r>
            <a:endParaRPr lang="en-US" sz="500" dirty="0"/>
          </a:p>
          <a:p>
            <a:r>
              <a:rPr lang="en-US" sz="500" b="1" dirty="0"/>
              <a:t>Approach</a:t>
            </a:r>
            <a:r>
              <a:rPr lang="en-US" sz="500" dirty="0"/>
              <a:t> - </a:t>
            </a:r>
          </a:p>
          <a:p>
            <a:pPr fontAlgn="ctr"/>
            <a:r>
              <a:rPr lang="en-US" sz="500" dirty="0"/>
              <a:t>Database in </a:t>
            </a:r>
            <a:r>
              <a:rPr lang="en-US" sz="500" dirty="0" err="1"/>
              <a:t>ipynb</a:t>
            </a:r>
            <a:r>
              <a:rPr lang="en-US" sz="500" dirty="0"/>
              <a:t> to prototype before final design</a:t>
            </a:r>
          </a:p>
          <a:p>
            <a:pPr fontAlgn="ctr"/>
            <a:r>
              <a:rPr lang="en-US" sz="500" dirty="0"/>
              <a:t>Create low level design diagrams at micro level whenever necessary.</a:t>
            </a:r>
          </a:p>
          <a:p>
            <a:r>
              <a:rPr lang="en-US" sz="500" dirty="0"/>
              <a:t> </a:t>
            </a:r>
          </a:p>
          <a:p>
            <a:r>
              <a:rPr lang="en-US" sz="500" b="1" dirty="0"/>
              <a:t>Database low level design</a:t>
            </a:r>
            <a:endParaRPr lang="en-US" sz="500" dirty="0"/>
          </a:p>
          <a:p>
            <a:r>
              <a:rPr lang="en-US" sz="500" dirty="0"/>
              <a:t> </a:t>
            </a:r>
          </a:p>
          <a:p>
            <a:pPr fontAlgn="ctr"/>
            <a:r>
              <a:rPr lang="en-US" sz="500" b="1" dirty="0"/>
              <a:t>State Memory - </a:t>
            </a:r>
            <a:endParaRPr lang="en-US" sz="500" dirty="0"/>
          </a:p>
          <a:p>
            <a:pPr lvl="1" fontAlgn="ctr"/>
            <a:r>
              <a:rPr lang="en-US" sz="500" b="1" dirty="0"/>
              <a:t>Learning Curve - learn ORM and SQL. - In Progress(parallel)</a:t>
            </a:r>
            <a:endParaRPr lang="en-US" sz="500" dirty="0"/>
          </a:p>
          <a:p>
            <a:pPr lvl="1" fontAlgn="ctr"/>
            <a:r>
              <a:rPr lang="en-US" sz="500" dirty="0"/>
              <a:t>Design the schema  - for now Component and one requirement -</a:t>
            </a:r>
            <a:r>
              <a:rPr lang="en-US" sz="500" b="1" dirty="0"/>
              <a:t> In Progress</a:t>
            </a:r>
            <a:endParaRPr lang="en-US" sz="500" dirty="0"/>
          </a:p>
          <a:p>
            <a:pPr lvl="1" fontAlgn="ctr"/>
            <a:r>
              <a:rPr lang="en-US" sz="500" dirty="0"/>
              <a:t>Create prototype and CRUD wrapper functions and test functionality</a:t>
            </a:r>
          </a:p>
          <a:p>
            <a:pPr lvl="1" fontAlgn="ctr"/>
            <a:r>
              <a:rPr lang="en-US" sz="500" dirty="0"/>
              <a:t>Complete the schema for RFLP</a:t>
            </a:r>
          </a:p>
          <a:p>
            <a:pPr lvl="2" fontAlgn="ctr"/>
            <a:r>
              <a:rPr lang="en-US" sz="500" dirty="0"/>
              <a:t>Investigate on relationship design for each table. e.g. self-referential. Since the design is not nested anymore so linking should be robust. Investigate approaches</a:t>
            </a:r>
          </a:p>
          <a:p>
            <a:r>
              <a:rPr lang="en-US" sz="500" dirty="0"/>
              <a:t> </a:t>
            </a:r>
          </a:p>
          <a:p>
            <a:pPr fontAlgn="ctr"/>
            <a:r>
              <a:rPr lang="en-US" sz="500" b="1" dirty="0"/>
              <a:t>Archival database </a:t>
            </a:r>
            <a:endParaRPr lang="en-US" sz="500" dirty="0"/>
          </a:p>
          <a:p>
            <a:pPr lvl="1" fontAlgn="ctr"/>
            <a:r>
              <a:rPr lang="en-US" sz="500" b="1" dirty="0"/>
              <a:t>Design the schema</a:t>
            </a:r>
            <a:endParaRPr lang="en-US" sz="500" dirty="0"/>
          </a:p>
          <a:p>
            <a:pPr lvl="2" fontAlgn="ctr"/>
            <a:r>
              <a:rPr lang="en-US" sz="500" b="1" dirty="0"/>
              <a:t>History table - </a:t>
            </a:r>
            <a:endParaRPr lang="en-US" sz="500" dirty="0"/>
          </a:p>
          <a:p>
            <a:pPr lvl="3" fontAlgn="ctr"/>
            <a:r>
              <a:rPr lang="en-US" sz="500" dirty="0"/>
              <a:t> table with entries for user and AI conversation</a:t>
            </a:r>
          </a:p>
          <a:p>
            <a:pPr lvl="3" fontAlgn="ctr"/>
            <a:r>
              <a:rPr lang="en-US" sz="500" dirty="0"/>
              <a:t>Design the spec and implement low level.</a:t>
            </a:r>
          </a:p>
          <a:p>
            <a:r>
              <a:rPr lang="en-US" sz="500" dirty="0"/>
              <a:t> </a:t>
            </a:r>
          </a:p>
          <a:p>
            <a:r>
              <a:rPr lang="en-US" sz="500" dirty="0"/>
              <a:t> </a:t>
            </a:r>
          </a:p>
          <a:p>
            <a:r>
              <a:rPr lang="en-US" sz="500" b="1" dirty="0"/>
              <a:t>Orchestrator low level design</a:t>
            </a:r>
            <a:endParaRPr lang="en-US" sz="500" dirty="0"/>
          </a:p>
          <a:p>
            <a:pPr fontAlgn="ctr"/>
            <a:r>
              <a:rPr lang="en-US" sz="500" b="1" dirty="0"/>
              <a:t>Non AI-CRUD operations</a:t>
            </a:r>
            <a:endParaRPr lang="en-US" sz="500" dirty="0"/>
          </a:p>
          <a:p>
            <a:pPr lvl="1" fontAlgn="ctr"/>
            <a:r>
              <a:rPr lang="en-US" sz="500" dirty="0"/>
              <a:t>This will designed first</a:t>
            </a:r>
          </a:p>
          <a:p>
            <a:pPr lvl="1" fontAlgn="ctr"/>
            <a:r>
              <a:rPr lang="en-US" sz="500" dirty="0"/>
              <a:t>Create wrapper functions on top of state memory database </a:t>
            </a:r>
          </a:p>
          <a:p>
            <a:pPr lvl="1" fontAlgn="ctr"/>
            <a:r>
              <a:rPr lang="en-US" sz="500" dirty="0"/>
              <a:t>Expose the endpoints for each CRUD operation underneath it should be using the wrapper functions.</a:t>
            </a:r>
          </a:p>
          <a:p>
            <a:pPr lvl="1" fontAlgn="ctr"/>
            <a:r>
              <a:rPr lang="en-US" sz="500" dirty="0"/>
              <a:t>Investigate on propagation(non </a:t>
            </a:r>
            <a:r>
              <a:rPr lang="en-US" sz="500" dirty="0" err="1"/>
              <a:t>ai</a:t>
            </a:r>
            <a:r>
              <a:rPr lang="en-US" sz="500" dirty="0"/>
              <a:t>-crud + </a:t>
            </a:r>
            <a:r>
              <a:rPr lang="en-US" sz="500" dirty="0" err="1"/>
              <a:t>ai</a:t>
            </a:r>
            <a:r>
              <a:rPr lang="en-US" sz="500" dirty="0"/>
              <a:t> crud)</a:t>
            </a:r>
          </a:p>
          <a:p>
            <a:pPr fontAlgn="ctr"/>
            <a:r>
              <a:rPr lang="en-US" sz="500" b="1" dirty="0"/>
              <a:t>AI-CRUD operations</a:t>
            </a:r>
            <a:endParaRPr lang="en-US" sz="500" dirty="0"/>
          </a:p>
          <a:p>
            <a:pPr lvl="1" fontAlgn="ctr"/>
            <a:r>
              <a:rPr lang="en-US" sz="500" dirty="0"/>
              <a:t>Syncing with </a:t>
            </a:r>
            <a:r>
              <a:rPr lang="en-US" sz="500" dirty="0" err="1"/>
              <a:t>LangGraph</a:t>
            </a:r>
            <a:r>
              <a:rPr lang="en-US" sz="500" dirty="0"/>
              <a:t> agents</a:t>
            </a:r>
          </a:p>
          <a:p>
            <a:pPr lvl="1" fontAlgn="ctr"/>
            <a:r>
              <a:rPr lang="en-US" sz="500" dirty="0"/>
              <a:t>Transactions to/from LLM</a:t>
            </a:r>
          </a:p>
          <a:p>
            <a:pPr lvl="1" fontAlgn="ctr"/>
            <a:r>
              <a:rPr lang="en-US" sz="500" dirty="0"/>
              <a:t>Leverage the NON-AI CRUD wrapper functions</a:t>
            </a:r>
          </a:p>
          <a:p>
            <a:pPr lvl="1" fontAlgn="ctr"/>
            <a:r>
              <a:rPr lang="en-US" sz="500" dirty="0"/>
              <a:t>To be continued</a:t>
            </a:r>
          </a:p>
          <a:p>
            <a:r>
              <a:rPr lang="en-US" sz="500" dirty="0"/>
              <a:t> </a:t>
            </a:r>
          </a:p>
          <a:p>
            <a:r>
              <a:rPr lang="en-US" sz="500" dirty="0"/>
              <a:t> </a:t>
            </a:r>
          </a:p>
          <a:p>
            <a:r>
              <a:rPr lang="en-US" sz="500" dirty="0"/>
              <a:t> </a:t>
            </a:r>
          </a:p>
          <a:p>
            <a:r>
              <a:rPr lang="en-US" sz="500" dirty="0"/>
              <a:t> </a:t>
            </a:r>
          </a:p>
          <a:p>
            <a:endParaRPr lang="en-US" sz="5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w Level task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44154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26930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1">
            <a:hlinkClick r:id="rId3"/>
            <a:extLst>
              <a:ext uri="{FF2B5EF4-FFF2-40B4-BE49-F238E27FC236}">
                <a16:creationId xmlns:a16="http://schemas.microsoft.com/office/drawing/2014/main" id="{05A7A9FF-7747-63D0-3F7C-6D637310EAD1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rcRect l="33" r="33"/>
          <a:stretch/>
        </p:blipFill>
        <p:spPr>
          <a:xfrm>
            <a:off x="3469617" y="2833230"/>
            <a:ext cx="490436" cy="490764"/>
          </a:xfrm>
          <a:prstGeom prst="rect">
            <a:avLst/>
          </a:prstGeom>
        </p:spPr>
      </p:pic>
      <p:pic>
        <p:nvPicPr>
          <p:cNvPr id="10" name="Image 10">
            <a:hlinkClick r:id="rId6"/>
            <a:extLst>
              <a:ext uri="{FF2B5EF4-FFF2-40B4-BE49-F238E27FC236}">
                <a16:creationId xmlns:a16="http://schemas.microsoft.com/office/drawing/2014/main" id="{3D73D2ED-974D-1885-8F16-3B2547B46F5C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rcRect l="33" r="33"/>
          <a:stretch/>
        </p:blipFill>
        <p:spPr>
          <a:xfrm>
            <a:off x="4075407" y="2833230"/>
            <a:ext cx="490436" cy="490764"/>
          </a:xfrm>
          <a:prstGeom prst="rect">
            <a:avLst/>
          </a:prstGeom>
        </p:spPr>
      </p:pic>
      <p:pic>
        <p:nvPicPr>
          <p:cNvPr id="11" name="Image 12">
            <a:hlinkClick r:id="rId9"/>
            <a:extLst>
              <a:ext uri="{FF2B5EF4-FFF2-40B4-BE49-F238E27FC236}">
                <a16:creationId xmlns:a16="http://schemas.microsoft.com/office/drawing/2014/main" id="{AB0EDED2-7684-DB64-BE60-83DEA5D96E4B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1"/>
              </a:ext>
            </a:extLst>
          </a:blip>
          <a:srcRect l="33" r="33"/>
          <a:stretch/>
        </p:blipFill>
        <p:spPr>
          <a:xfrm>
            <a:off x="5286987" y="2833230"/>
            <a:ext cx="490436" cy="490764"/>
          </a:xfrm>
          <a:prstGeom prst="rect">
            <a:avLst/>
          </a:prstGeom>
        </p:spPr>
      </p:pic>
      <p:pic>
        <p:nvPicPr>
          <p:cNvPr id="12" name="Image 13">
            <a:hlinkClick r:id="rId12"/>
            <a:extLst>
              <a:ext uri="{FF2B5EF4-FFF2-40B4-BE49-F238E27FC236}">
                <a16:creationId xmlns:a16="http://schemas.microsoft.com/office/drawing/2014/main" id="{1810BC86-C55F-5694-CAAD-E52EFAFC6489}"/>
              </a:ext>
            </a:extLst>
          </p:cNvPr>
          <p:cNvPicPr>
            <a:picLocks noChangeAspect="1"/>
          </p:cNvPicPr>
          <p:nvPr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4"/>
              </a:ext>
            </a:extLst>
          </a:blip>
          <a:srcRect l="33" r="33"/>
          <a:stretch/>
        </p:blipFill>
        <p:spPr>
          <a:xfrm>
            <a:off x="5892777" y="2833230"/>
            <a:ext cx="490436" cy="490764"/>
          </a:xfrm>
          <a:prstGeom prst="rect">
            <a:avLst/>
          </a:prstGeom>
        </p:spPr>
      </p:pic>
      <p:pic>
        <p:nvPicPr>
          <p:cNvPr id="13" name="Image 14">
            <a:hlinkClick r:id="rId15"/>
            <a:extLst>
              <a:ext uri="{FF2B5EF4-FFF2-40B4-BE49-F238E27FC236}">
                <a16:creationId xmlns:a16="http://schemas.microsoft.com/office/drawing/2014/main" id="{154F1063-22BA-9441-7320-C33E27362371}"/>
              </a:ext>
            </a:extLst>
          </p:cNvPr>
          <p:cNvPicPr>
            <a:picLocks noChangeAspect="1"/>
          </p:cNvPicPr>
          <p:nvPr/>
        </p:nvPicPr>
        <p:blipFill>
          <a:blip r:embed="rId1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7"/>
              </a:ext>
            </a:extLst>
          </a:blip>
          <a:srcRect l="33" r="33"/>
          <a:stretch/>
        </p:blipFill>
        <p:spPr>
          <a:xfrm>
            <a:off x="6498566" y="2833230"/>
            <a:ext cx="490436" cy="490764"/>
          </a:xfrm>
          <a:prstGeom prst="rect">
            <a:avLst/>
          </a:prstGeom>
        </p:spPr>
      </p:pic>
      <p:sp>
        <p:nvSpPr>
          <p:cNvPr id="7" name="Rectangle 6">
            <a:hlinkClick r:id="rId18"/>
            <a:extLst>
              <a:ext uri="{FF2B5EF4-FFF2-40B4-BE49-F238E27FC236}">
                <a16:creationId xmlns:a16="http://schemas.microsoft.com/office/drawing/2014/main" id="{D85EB92D-4072-060C-EE42-0E8E3E9C0DB2}"/>
              </a:ext>
            </a:extLst>
          </p:cNvPr>
          <p:cNvSpPr/>
          <p:nvPr/>
        </p:nvSpPr>
        <p:spPr>
          <a:xfrm>
            <a:off x="4701096" y="2039010"/>
            <a:ext cx="1612448" cy="38933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75"/>
          </a:p>
        </p:txBody>
      </p:sp>
      <p:grpSp>
        <p:nvGrpSpPr>
          <p:cNvPr id="4" name="Image 9">
            <a:extLst>
              <a:ext uri="{FF2B5EF4-FFF2-40B4-BE49-F238E27FC236}">
                <a16:creationId xmlns:a16="http://schemas.microsoft.com/office/drawing/2014/main" id="{25F33EE5-6166-CD3F-C192-3ED43CD7BFD3}"/>
              </a:ext>
            </a:extLst>
          </p:cNvPr>
          <p:cNvGrpSpPr/>
          <p:nvPr/>
        </p:nvGrpSpPr>
        <p:grpSpPr>
          <a:xfrm>
            <a:off x="4681198" y="2833230"/>
            <a:ext cx="491083" cy="490764"/>
            <a:chOff x="4681198" y="2833230"/>
            <a:chExt cx="491083" cy="490764"/>
          </a:xfrm>
        </p:grpSpPr>
        <p:sp>
          <p:nvSpPr>
            <p:cNvPr id="5" name="Freeform 4">
              <a:hlinkClick r:id="rId19"/>
              <a:extLst>
                <a:ext uri="{FF2B5EF4-FFF2-40B4-BE49-F238E27FC236}">
                  <a16:creationId xmlns:a16="http://schemas.microsoft.com/office/drawing/2014/main" id="{973862C6-E3BA-C1EB-755F-307A68A5C4A9}"/>
                </a:ext>
              </a:extLst>
            </p:cNvPr>
            <p:cNvSpPr/>
            <p:nvPr/>
          </p:nvSpPr>
          <p:spPr>
            <a:xfrm>
              <a:off x="4681198" y="2833230"/>
              <a:ext cx="490759" cy="490764"/>
            </a:xfrm>
            <a:custGeom>
              <a:avLst/>
              <a:gdLst>
                <a:gd name="connsiteX0" fmla="*/ 245380 w 490759"/>
                <a:gd name="connsiteY0" fmla="*/ 0 h 490764"/>
                <a:gd name="connsiteX1" fmla="*/ 0 w 490759"/>
                <a:gd name="connsiteY1" fmla="*/ 245382 h 490764"/>
                <a:gd name="connsiteX2" fmla="*/ 245380 w 490759"/>
                <a:gd name="connsiteY2" fmla="*/ 490764 h 490764"/>
                <a:gd name="connsiteX3" fmla="*/ 490760 w 490759"/>
                <a:gd name="connsiteY3" fmla="*/ 245382 h 490764"/>
                <a:gd name="connsiteX4" fmla="*/ 245380 w 490759"/>
                <a:gd name="connsiteY4" fmla="*/ 0 h 490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0759" h="490764">
                  <a:moveTo>
                    <a:pt x="245380" y="0"/>
                  </a:moveTo>
                  <a:cubicBezTo>
                    <a:pt x="109865" y="0"/>
                    <a:pt x="0" y="109866"/>
                    <a:pt x="0" y="245382"/>
                  </a:cubicBezTo>
                  <a:cubicBezTo>
                    <a:pt x="0" y="380898"/>
                    <a:pt x="109865" y="490764"/>
                    <a:pt x="245380" y="490764"/>
                  </a:cubicBezTo>
                  <a:cubicBezTo>
                    <a:pt x="380895" y="490764"/>
                    <a:pt x="490760" y="380898"/>
                    <a:pt x="490760" y="245382"/>
                  </a:cubicBezTo>
                  <a:cubicBezTo>
                    <a:pt x="490760" y="109866"/>
                    <a:pt x="380895" y="0"/>
                    <a:pt x="245380" y="0"/>
                  </a:cubicBezTo>
                  <a:close/>
                </a:path>
              </a:pathLst>
            </a:custGeom>
            <a:solidFill>
              <a:schemeClr val="bg1"/>
            </a:solidFill>
            <a:ln w="3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FR" dirty="0"/>
            </a:p>
          </p:txBody>
        </p:sp>
        <p:sp>
          <p:nvSpPr>
            <p:cNvPr id="6" name="Freeform 5">
              <a:hlinkClick r:id="rId19"/>
              <a:extLst>
                <a:ext uri="{FF2B5EF4-FFF2-40B4-BE49-F238E27FC236}">
                  <a16:creationId xmlns:a16="http://schemas.microsoft.com/office/drawing/2014/main" id="{90EBF4B8-977B-021B-1B61-59C220AA3FAA}"/>
                </a:ext>
              </a:extLst>
            </p:cNvPr>
            <p:cNvSpPr/>
            <p:nvPr/>
          </p:nvSpPr>
          <p:spPr>
            <a:xfrm>
              <a:off x="4785493" y="2934299"/>
              <a:ext cx="282170" cy="288373"/>
            </a:xfrm>
            <a:custGeom>
              <a:avLst/>
              <a:gdLst>
                <a:gd name="connsiteX0" fmla="*/ 167929 w 282170"/>
                <a:gd name="connsiteY0" fmla="*/ 122106 h 288373"/>
                <a:gd name="connsiteX1" fmla="*/ 272974 w 282170"/>
                <a:gd name="connsiteY1" fmla="*/ 0 h 288373"/>
                <a:gd name="connsiteX2" fmla="*/ 248082 w 282170"/>
                <a:gd name="connsiteY2" fmla="*/ 0 h 288373"/>
                <a:gd name="connsiteX3" fmla="*/ 156872 w 282170"/>
                <a:gd name="connsiteY3" fmla="*/ 106023 h 288373"/>
                <a:gd name="connsiteX4" fmla="*/ 84023 w 282170"/>
                <a:gd name="connsiteY4" fmla="*/ 0 h 288373"/>
                <a:gd name="connsiteX5" fmla="*/ 0 w 282170"/>
                <a:gd name="connsiteY5" fmla="*/ 0 h 288373"/>
                <a:gd name="connsiteX6" fmla="*/ 110162 w 282170"/>
                <a:gd name="connsiteY6" fmla="*/ 160326 h 288373"/>
                <a:gd name="connsiteX7" fmla="*/ 0 w 282170"/>
                <a:gd name="connsiteY7" fmla="*/ 288373 h 288373"/>
                <a:gd name="connsiteX8" fmla="*/ 24894 w 282170"/>
                <a:gd name="connsiteY8" fmla="*/ 288373 h 288373"/>
                <a:gd name="connsiteX9" fmla="*/ 121214 w 282170"/>
                <a:gd name="connsiteY9" fmla="*/ 176409 h 288373"/>
                <a:gd name="connsiteX10" fmla="*/ 198147 w 282170"/>
                <a:gd name="connsiteY10" fmla="*/ 288373 h 288373"/>
                <a:gd name="connsiteX11" fmla="*/ 282170 w 282170"/>
                <a:gd name="connsiteY11" fmla="*/ 288373 h 288373"/>
                <a:gd name="connsiteX12" fmla="*/ 167923 w 282170"/>
                <a:gd name="connsiteY12" fmla="*/ 122106 h 288373"/>
                <a:gd name="connsiteX13" fmla="*/ 33863 w 282170"/>
                <a:gd name="connsiteY13" fmla="*/ 18740 h 288373"/>
                <a:gd name="connsiteX14" fmla="*/ 72098 w 282170"/>
                <a:gd name="connsiteY14" fmla="*/ 18740 h 288373"/>
                <a:gd name="connsiteX15" fmla="*/ 248093 w 282170"/>
                <a:gd name="connsiteY15" fmla="*/ 270486 h 288373"/>
                <a:gd name="connsiteX16" fmla="*/ 209858 w 282170"/>
                <a:gd name="connsiteY16" fmla="*/ 270486 h 288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82170" h="288373">
                  <a:moveTo>
                    <a:pt x="167929" y="122106"/>
                  </a:moveTo>
                  <a:lnTo>
                    <a:pt x="272974" y="0"/>
                  </a:lnTo>
                  <a:lnTo>
                    <a:pt x="248082" y="0"/>
                  </a:lnTo>
                  <a:lnTo>
                    <a:pt x="156872" y="106023"/>
                  </a:lnTo>
                  <a:lnTo>
                    <a:pt x="84023" y="0"/>
                  </a:lnTo>
                  <a:lnTo>
                    <a:pt x="0" y="0"/>
                  </a:lnTo>
                  <a:lnTo>
                    <a:pt x="110162" y="160326"/>
                  </a:lnTo>
                  <a:lnTo>
                    <a:pt x="0" y="288373"/>
                  </a:lnTo>
                  <a:lnTo>
                    <a:pt x="24894" y="288373"/>
                  </a:lnTo>
                  <a:lnTo>
                    <a:pt x="121214" y="176409"/>
                  </a:lnTo>
                  <a:lnTo>
                    <a:pt x="198147" y="288373"/>
                  </a:lnTo>
                  <a:lnTo>
                    <a:pt x="282170" y="288373"/>
                  </a:lnTo>
                  <a:lnTo>
                    <a:pt x="167923" y="122106"/>
                  </a:lnTo>
                  <a:close/>
                  <a:moveTo>
                    <a:pt x="33863" y="18740"/>
                  </a:moveTo>
                  <a:lnTo>
                    <a:pt x="72098" y="18740"/>
                  </a:lnTo>
                  <a:lnTo>
                    <a:pt x="248093" y="270486"/>
                  </a:lnTo>
                  <a:lnTo>
                    <a:pt x="209858" y="270486"/>
                  </a:lnTo>
                  <a:close/>
                </a:path>
              </a:pathLst>
            </a:custGeom>
            <a:solidFill>
              <a:schemeClr val="tx1"/>
            </a:solidFill>
            <a:ln w="3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FR"/>
            </a:p>
          </p:txBody>
        </p:sp>
      </p:grpSp>
    </p:spTree>
    <p:extLst>
      <p:ext uri="{BB962C8B-B14F-4D97-AF65-F5344CB8AC3E}">
        <p14:creationId xmlns:p14="http://schemas.microsoft.com/office/powerpoint/2010/main" val="3816391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6"/>
          </p:nvPr>
        </p:nvSpPr>
        <p:spPr>
          <a:xfrm>
            <a:off x="382904" y="854926"/>
            <a:ext cx="8378827" cy="3818673"/>
          </a:xfrm>
        </p:spPr>
        <p:txBody>
          <a:bodyPr/>
          <a:lstStyle/>
          <a:p>
            <a:r>
              <a:rPr lang="en-US" sz="1500" b="1" dirty="0"/>
              <a:t>Context is Not </a:t>
            </a:r>
            <a:r>
              <a:rPr lang="en-US" sz="1500" b="1" dirty="0" smtClean="0"/>
              <a:t>Consistent</a:t>
            </a:r>
          </a:p>
          <a:p>
            <a:pPr lvl="1"/>
            <a:r>
              <a:rPr lang="en-US" sz="1200" b="1" dirty="0" smtClean="0">
                <a:solidFill>
                  <a:srgbClr val="C00000"/>
                </a:solidFill>
              </a:rPr>
              <a:t>Issue</a:t>
            </a:r>
            <a:r>
              <a:rPr lang="en-US" sz="1200" dirty="0" smtClean="0"/>
              <a:t> – There is no consistent app state in AI-backend which causes inconsistent responses from LLM.</a:t>
            </a:r>
          </a:p>
          <a:p>
            <a:pPr lvl="1"/>
            <a:r>
              <a:rPr lang="en-US" sz="1200" b="1" dirty="0" smtClean="0">
                <a:solidFill>
                  <a:srgbClr val="00B050"/>
                </a:solidFill>
              </a:rPr>
              <a:t>Solution</a:t>
            </a:r>
            <a:r>
              <a:rPr lang="en-US" sz="1200" dirty="0" smtClean="0"/>
              <a:t> – A consistent App state in the backend. We call it </a:t>
            </a:r>
            <a:r>
              <a:rPr lang="en-US" sz="1200" b="1" dirty="0" smtClean="0"/>
              <a:t>“State Memory”</a:t>
            </a:r>
          </a:p>
          <a:p>
            <a:pPr lvl="1"/>
            <a:endParaRPr lang="en-US" dirty="0" smtClean="0">
              <a:solidFill>
                <a:schemeClr val="bg2"/>
              </a:solidFill>
            </a:endParaRPr>
          </a:p>
          <a:p>
            <a:pPr marL="172795" lvl="1" indent="0">
              <a:buNone/>
            </a:pPr>
            <a:endParaRPr lang="en-US" dirty="0"/>
          </a:p>
          <a:p>
            <a:r>
              <a:rPr lang="en-US" sz="1500" b="1" dirty="0"/>
              <a:t>LLM Token Limit for a Long-Running </a:t>
            </a:r>
            <a:r>
              <a:rPr lang="en-US" sz="1500" b="1" dirty="0" smtClean="0"/>
              <a:t>Session</a:t>
            </a:r>
          </a:p>
          <a:p>
            <a:pPr lvl="1"/>
            <a:r>
              <a:rPr lang="en-US" b="1" dirty="0" smtClean="0">
                <a:solidFill>
                  <a:srgbClr val="C00000"/>
                </a:solidFill>
              </a:rPr>
              <a:t>Issue</a:t>
            </a:r>
            <a:r>
              <a:rPr lang="en-US" dirty="0" smtClean="0"/>
              <a:t> -  Long-running </a:t>
            </a:r>
            <a:r>
              <a:rPr lang="en-US" dirty="0"/>
              <a:t>sessions can exceed the token </a:t>
            </a:r>
            <a:r>
              <a:rPr lang="en-US" dirty="0" smtClean="0"/>
              <a:t>limit.(FM models have 3.2k token limit for each request)</a:t>
            </a:r>
          </a:p>
          <a:p>
            <a:pPr lvl="1"/>
            <a:r>
              <a:rPr lang="en-US" b="1" dirty="0" smtClean="0">
                <a:solidFill>
                  <a:srgbClr val="00B050"/>
                </a:solidFill>
              </a:rPr>
              <a:t>Solution</a:t>
            </a:r>
            <a:r>
              <a:rPr lang="en-US" dirty="0" smtClean="0"/>
              <a:t> – Context computation and retrieve app state before calling LLM Model. The computed context will have whole/part of the app state as input to the LLM along with the user query. </a:t>
            </a:r>
          </a:p>
          <a:p>
            <a:pPr marL="172795" lvl="1" indent="0">
              <a:buNone/>
            </a:pP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	</a:t>
            </a:r>
          </a:p>
          <a:p>
            <a:r>
              <a:rPr lang="en-US" sz="1600" b="1" dirty="0"/>
              <a:t>Client-Side Operations Are Not Acknowledged by the Backend</a:t>
            </a:r>
          </a:p>
          <a:p>
            <a:pPr lvl="1"/>
            <a:r>
              <a:rPr lang="en-US" b="1" dirty="0" smtClean="0">
                <a:solidFill>
                  <a:srgbClr val="C00000"/>
                </a:solidFill>
              </a:rPr>
              <a:t>Issue</a:t>
            </a:r>
            <a:r>
              <a:rPr lang="en-US" b="1" dirty="0" smtClean="0"/>
              <a:t> – Non-AI CRUD </a:t>
            </a:r>
            <a:r>
              <a:rPr lang="en-US" b="1" dirty="0"/>
              <a:t>operations </a:t>
            </a:r>
            <a:r>
              <a:rPr lang="en-US" dirty="0"/>
              <a:t>on the client side are not </a:t>
            </a:r>
            <a:r>
              <a:rPr lang="en-US" dirty="0" smtClean="0"/>
              <a:t>currently synchronized </a:t>
            </a:r>
            <a:r>
              <a:rPr lang="en-US" dirty="0"/>
              <a:t>with the </a:t>
            </a:r>
            <a:r>
              <a:rPr lang="en-US" b="1" dirty="0" smtClean="0"/>
              <a:t>AI–backend</a:t>
            </a:r>
            <a:r>
              <a:rPr lang="en-US" dirty="0" smtClean="0"/>
              <a:t> automatically. This </a:t>
            </a:r>
            <a:r>
              <a:rPr lang="en-US" dirty="0"/>
              <a:t>creates inconsistencies in the app state and can cause mismatched responses from the LLM</a:t>
            </a:r>
            <a:r>
              <a:rPr lang="en-US" dirty="0" smtClean="0"/>
              <a:t>.</a:t>
            </a:r>
          </a:p>
          <a:p>
            <a:pPr lvl="1"/>
            <a:r>
              <a:rPr lang="en-US" b="1" dirty="0" smtClean="0">
                <a:solidFill>
                  <a:srgbClr val="00B050"/>
                </a:solidFill>
              </a:rPr>
              <a:t>Solution</a:t>
            </a:r>
            <a:r>
              <a:rPr lang="en-US" dirty="0" smtClean="0"/>
              <a:t> – use REST-API calls and maintain the </a:t>
            </a:r>
            <a:r>
              <a:rPr lang="en-US" b="1" dirty="0" smtClean="0"/>
              <a:t>AI-</a:t>
            </a:r>
            <a:r>
              <a:rPr lang="en-US" b="1" dirty="0" err="1" smtClean="0"/>
              <a:t>BackEnd</a:t>
            </a:r>
            <a:r>
              <a:rPr lang="en-US" b="1" dirty="0" smtClean="0"/>
              <a:t> app state(State Memory) </a:t>
            </a:r>
            <a:r>
              <a:rPr lang="en-US" dirty="0" smtClean="0"/>
              <a:t>for each operation performed on the front end including </a:t>
            </a:r>
            <a:r>
              <a:rPr lang="en-US" b="1" dirty="0" smtClean="0"/>
              <a:t>undo/redo.</a:t>
            </a:r>
            <a:endParaRPr lang="en-US" b="1" dirty="0"/>
          </a:p>
          <a:p>
            <a:pPr marL="172795" lvl="1" indent="0">
              <a:buNone/>
            </a:pPr>
            <a:endParaRPr lang="en-US" dirty="0" smtClean="0"/>
          </a:p>
          <a:p>
            <a:pPr marL="172795" lvl="1" indent="0">
              <a:buNone/>
            </a:pP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llenges </a:t>
            </a:r>
          </a:p>
        </p:txBody>
      </p:sp>
    </p:spTree>
    <p:extLst>
      <p:ext uri="{BB962C8B-B14F-4D97-AF65-F5344CB8AC3E}">
        <p14:creationId xmlns:p14="http://schemas.microsoft.com/office/powerpoint/2010/main" val="2587823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ront end</a:t>
            </a:r>
            <a:r>
              <a:rPr lang="en-US" dirty="0" smtClean="0"/>
              <a:t> </a:t>
            </a:r>
            <a:r>
              <a:rPr lang="en-US" dirty="0" smtClean="0"/>
              <a:t>-UI</a:t>
            </a:r>
            <a:endParaRPr lang="en-US" dirty="0"/>
          </a:p>
        </p:txBody>
      </p:sp>
      <p:sp>
        <p:nvSpPr>
          <p:cNvPr id="4" name="AutoShape 2" descr="https://dsext001-eu1-215dsi0708-3dswym.3dexperience.3ds.com/api/media/streammedia/id/UVp8xcyHTFG99g4OBe9peg/type/picture/key/l1/update/e09c68486ed3bdf714fd5b08fc213db2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4725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30DCA2A-FF78-438F-8EA2-1CACE44574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xSystems</a:t>
            </a:r>
            <a:r>
              <a:rPr lang="en-US" dirty="0" smtClean="0"/>
              <a:t> high level design - </a:t>
            </a:r>
            <a:r>
              <a:rPr lang="en-US" dirty="0"/>
              <a:t>Key </a:t>
            </a:r>
            <a:r>
              <a:rPr lang="en-US" dirty="0" smtClean="0"/>
              <a:t>Components</a:t>
            </a:r>
            <a:endParaRPr lang="en-US" dirty="0"/>
          </a:p>
        </p:txBody>
      </p:sp>
      <p:sp>
        <p:nvSpPr>
          <p:cNvPr id="6" name="Content Placeholder 14"/>
          <p:cNvSpPr>
            <a:spLocks noGrp="1" noChangeArrowheads="1"/>
          </p:cNvSpPr>
          <p:nvPr>
            <p:ph sz="quarter" idx="16"/>
          </p:nvPr>
        </p:nvSpPr>
        <p:spPr bwMode="auto">
          <a:xfrm>
            <a:off x="4802286" y="697645"/>
            <a:ext cx="4284271" cy="36933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342900" lvl="0" indent="-342900" defTabSz="914400" eaLnBrk="0" fontAlgn="base" hangingPunct="0">
              <a:spcBef>
                <a:spcPct val="0"/>
              </a:spcBef>
              <a:spcAft>
                <a:spcPct val="0"/>
              </a:spcAft>
              <a:buClrTx/>
              <a:buFont typeface="+mj-lt"/>
              <a:buAutoNum type="arabicParenR"/>
            </a:pPr>
            <a:r>
              <a:rPr lang="en-US" altLang="en-US" sz="1800" b="1" dirty="0">
                <a:solidFill>
                  <a:schemeClr val="accent4"/>
                </a:solidFill>
                <a:latin typeface="Arial" panose="020B0604020202020204" pitchFamily="34" charset="0"/>
              </a:rPr>
              <a:t>State</a:t>
            </a:r>
            <a:r>
              <a:rPr kumimoji="0" lang="en-US" altLang="en-US" sz="1800" b="1" i="0" u="none" strike="noStrike" cap="none" normalizeH="0" baseline="0" dirty="0" smtClean="0">
                <a:ln>
                  <a:noFill/>
                </a:ln>
                <a:solidFill>
                  <a:schemeClr val="accent4"/>
                </a:solidFill>
                <a:effectLst/>
                <a:latin typeface="Arial" panose="020B0604020202020204" pitchFamily="34" charset="0"/>
              </a:rPr>
              <a:t> Memory (Core Memory):</a:t>
            </a:r>
          </a:p>
          <a:p>
            <a:pPr lvl="1" defTabSz="914400" eaLnBrk="0" fontAlgn="base" hangingPunct="0">
              <a:spcBef>
                <a:spcPct val="0"/>
              </a:spcBef>
              <a:spcAft>
                <a:spcPct val="0"/>
              </a:spcAft>
              <a:buClrTx/>
              <a:buFont typeface="Wingdings" panose="05000000000000000000" pitchFamily="2" charset="2"/>
              <a:buChar char="q"/>
            </a:pPr>
            <a:r>
              <a:rPr kumimoji="0" lang="en-US" alt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Represents the </a:t>
            </a:r>
            <a:r>
              <a:rPr kumimoji="0" lang="en-US" altLang="en-US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urrent app state</a:t>
            </a:r>
            <a:r>
              <a:rPr kumimoji="0" lang="en-US" alt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lvl="1" defTabSz="914400" eaLnBrk="0" fontAlgn="base" hangingPunct="0">
              <a:spcBef>
                <a:spcPct val="0"/>
              </a:spcBef>
              <a:spcAft>
                <a:spcPct val="0"/>
              </a:spcAft>
              <a:buClrTx/>
              <a:buFont typeface="Wingdings" panose="05000000000000000000" pitchFamily="2" charset="2"/>
              <a:buChar char="q"/>
            </a:pPr>
            <a:r>
              <a:rPr kumimoji="0" lang="en-US" alt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cts as the central context that is immediately relevant to the user query.</a:t>
            </a:r>
          </a:p>
          <a:p>
            <a:pPr lvl="1" defTabSz="914400" eaLnBrk="0" fontAlgn="base" hangingPunct="0">
              <a:spcBef>
                <a:spcPct val="0"/>
              </a:spcBef>
              <a:spcAft>
                <a:spcPct val="0"/>
              </a:spcAft>
              <a:buClrTx/>
              <a:buFont typeface="Wingdings" panose="05000000000000000000" pitchFamily="2" charset="2"/>
              <a:buChar char="q"/>
            </a:pPr>
            <a:r>
              <a:rPr lang="en-US" altLang="en-US" sz="1200" dirty="0" smtClean="0">
                <a:latin typeface="Arial" panose="020B0604020202020204" pitchFamily="34" charset="0"/>
              </a:rPr>
              <a:t>Versioning </a:t>
            </a:r>
          </a:p>
          <a:p>
            <a:pPr lvl="2" defTabSz="914400" eaLnBrk="0" fontAlgn="base" hangingPunct="0">
              <a:spcBef>
                <a:spcPct val="0"/>
              </a:spcBef>
              <a:spcAft>
                <a:spcPct val="0"/>
              </a:spcAft>
              <a:buClrTx/>
              <a:buFont typeface="Wingdings" panose="05000000000000000000" pitchFamily="2" charset="2"/>
              <a:buChar char="§"/>
            </a:pPr>
            <a:r>
              <a:rPr kumimoji="0" lang="en-US" altLang="en-US" sz="11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dd version number to each entry</a:t>
            </a:r>
            <a:r>
              <a:rPr kumimoji="0" lang="en-US" altLang="en-US" sz="11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in the table</a:t>
            </a:r>
            <a:r>
              <a:rPr lang="en-US" altLang="en-US" sz="1100" dirty="0">
                <a:latin typeface="Arial" panose="020B0604020202020204" pitchFamily="34" charset="0"/>
              </a:rPr>
              <a:t>.</a:t>
            </a:r>
            <a:endParaRPr kumimoji="0" lang="en-US" altLang="en-US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arenR"/>
              <a:tabLst/>
            </a:pPr>
            <a:r>
              <a:rPr kumimoji="0" lang="en-US" altLang="en-US" sz="1800" b="1" i="0" u="none" strike="noStrike" cap="none" normalizeH="0" baseline="0" dirty="0" smtClean="0">
                <a:ln>
                  <a:noFill/>
                </a:ln>
                <a:solidFill>
                  <a:schemeClr val="accent4"/>
                </a:solidFill>
                <a:effectLst/>
                <a:latin typeface="Arial" panose="020B0604020202020204" pitchFamily="34" charset="0"/>
              </a:rPr>
              <a:t>Archival Memory: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accent4"/>
              </a:solidFill>
              <a:effectLst/>
              <a:latin typeface="Arial" panose="020B0604020202020204" pitchFamily="34" charset="0"/>
            </a:endParaRPr>
          </a:p>
          <a:p>
            <a:pPr lvl="1" defTabSz="914400" eaLnBrk="0" fontAlgn="base" hangingPunct="0">
              <a:spcBef>
                <a:spcPct val="0"/>
              </a:spcBef>
              <a:spcAft>
                <a:spcPct val="0"/>
              </a:spcAft>
              <a:buClrTx/>
              <a:buFont typeface="Wingdings" panose="05000000000000000000" pitchFamily="2" charset="2"/>
              <a:buChar char="q"/>
            </a:pPr>
            <a:r>
              <a:rPr kumimoji="0" lang="en-US" alt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Stores user interactions</a:t>
            </a:r>
            <a:r>
              <a:rPr kumimoji="0" lang="en-US" altLang="en-US" sz="12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en-US" alt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nd LLM</a:t>
            </a:r>
            <a:r>
              <a:rPr kumimoji="0" lang="en-US" altLang="en-US" sz="12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en-US" alt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responses.</a:t>
            </a:r>
          </a:p>
          <a:p>
            <a:pPr lvl="1" defTabSz="914400" eaLnBrk="0" fontAlgn="base" hangingPunct="0">
              <a:spcBef>
                <a:spcPct val="0"/>
              </a:spcBef>
              <a:spcAft>
                <a:spcPct val="0"/>
              </a:spcAft>
              <a:buClrTx/>
              <a:buFont typeface="Wingdings" panose="05000000000000000000" pitchFamily="2" charset="2"/>
              <a:buChar char="q"/>
            </a:pPr>
            <a:r>
              <a:rPr kumimoji="0" lang="en-US" alt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Serves as a log of all communication.</a:t>
            </a:r>
          </a:p>
          <a:p>
            <a:pPr lvl="1" defTabSz="914400" eaLnBrk="0" fontAlgn="base" hangingPunct="0">
              <a:spcBef>
                <a:spcPct val="0"/>
              </a:spcBef>
              <a:spcAft>
                <a:spcPct val="0"/>
              </a:spcAft>
              <a:buClrTx/>
              <a:buFont typeface="Wingdings" panose="05000000000000000000" pitchFamily="2" charset="2"/>
              <a:buChar char="q"/>
            </a:pPr>
            <a:r>
              <a:rPr lang="en-US" altLang="en-US" sz="1200" dirty="0" smtClean="0">
                <a:latin typeface="Arial" panose="020B0604020202020204" pitchFamily="34" charset="0"/>
              </a:rPr>
              <a:t>Can be used for creating summary and how system design evolved over time. </a:t>
            </a:r>
            <a:endParaRPr lang="en-US" altLang="en-US" sz="1200" b="1" dirty="0">
              <a:latin typeface="Arial" panose="020B0604020202020204" pitchFamily="34" charset="0"/>
            </a:endParaRPr>
          </a:p>
          <a:p>
            <a:pPr marL="0" indent="0" defTabSz="914400" eaLnBrk="0" fontAlgn="base" hangingPunct="0">
              <a:spcBef>
                <a:spcPct val="0"/>
              </a:spcBef>
              <a:spcAft>
                <a:spcPct val="0"/>
              </a:spcAft>
              <a:buClrTx/>
              <a:buNone/>
            </a:pPr>
            <a:r>
              <a:rPr lang="en-US" altLang="en-US" sz="1900" b="1" dirty="0" smtClean="0">
                <a:latin typeface="Arial" panose="020B0604020202020204" pitchFamily="34" charset="0"/>
              </a:rPr>
              <a:t>3)  </a:t>
            </a:r>
            <a:r>
              <a:rPr lang="en-US" altLang="en-US" sz="1900" b="1" dirty="0" smtClean="0">
                <a:solidFill>
                  <a:schemeClr val="accent4"/>
                </a:solidFill>
                <a:latin typeface="Arial" panose="020B0604020202020204" pitchFamily="34" charset="0"/>
              </a:rPr>
              <a:t>Orchestrator(Context Compute)</a:t>
            </a:r>
            <a:endParaRPr kumimoji="0" lang="en-US" altLang="en-US" sz="1300" b="0" i="0" u="none" strike="noStrike" cap="none" normalizeH="0" baseline="0" dirty="0" smtClean="0">
              <a:ln>
                <a:noFill/>
              </a:ln>
              <a:solidFill>
                <a:schemeClr val="accent4"/>
              </a:solidFill>
              <a:effectLst/>
              <a:latin typeface="Arial" panose="020B0604020202020204" pitchFamily="34" charset="0"/>
            </a:endParaRPr>
          </a:p>
          <a:p>
            <a:pPr lvl="1" defTabSz="914400" eaLnBrk="0" fontAlgn="base" hangingPunct="0">
              <a:spcBef>
                <a:spcPct val="0"/>
              </a:spcBef>
              <a:spcAft>
                <a:spcPct val="0"/>
              </a:spcAft>
              <a:buClrTx/>
              <a:buFont typeface="Wingdings" panose="05000000000000000000" pitchFamily="2" charset="2"/>
              <a:buChar char="q"/>
            </a:pPr>
            <a:r>
              <a:rPr kumimoji="0" lang="en-US" alt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ntrol Unit</a:t>
            </a:r>
          </a:p>
          <a:p>
            <a:pPr lvl="1" defTabSz="914400" eaLnBrk="0" fontAlgn="base" hangingPunct="0">
              <a:spcBef>
                <a:spcPct val="0"/>
              </a:spcBef>
              <a:spcAft>
                <a:spcPct val="0"/>
              </a:spcAft>
              <a:buClrTx/>
              <a:buFont typeface="Wingdings" panose="05000000000000000000" pitchFamily="2" charset="2"/>
              <a:buChar char="q"/>
            </a:pPr>
            <a:r>
              <a:rPr lang="en-US" altLang="en-US" sz="1200" dirty="0">
                <a:latin typeface="Arial" panose="020B0604020202020204" pitchFamily="34" charset="0"/>
              </a:rPr>
              <a:t>Manages </a:t>
            </a:r>
            <a:r>
              <a:rPr lang="en-US" altLang="en-US" sz="1200" dirty="0" smtClean="0">
                <a:latin typeface="Arial" panose="020B0604020202020204" pitchFamily="34" charset="0"/>
              </a:rPr>
              <a:t>Database</a:t>
            </a:r>
          </a:p>
          <a:p>
            <a:pPr lvl="1" defTabSz="914400" eaLnBrk="0" fontAlgn="base" hangingPunct="0">
              <a:spcBef>
                <a:spcPct val="0"/>
              </a:spcBef>
              <a:spcAft>
                <a:spcPct val="0"/>
              </a:spcAft>
              <a:buClrTx/>
              <a:buFont typeface="Wingdings" panose="05000000000000000000" pitchFamily="2" charset="2"/>
              <a:buChar char="q"/>
            </a:pPr>
            <a:r>
              <a:rPr kumimoji="0" lang="en-US" alt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Handles</a:t>
            </a:r>
            <a:r>
              <a:rPr kumimoji="0" lang="en-US" altLang="en-US" sz="12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Query Routing(agents/ </a:t>
            </a:r>
            <a:r>
              <a:rPr lang="en-US" altLang="en-US" sz="1200" dirty="0" err="1">
                <a:latin typeface="Arial" panose="020B0604020202020204" pitchFamily="34" charset="0"/>
              </a:rPr>
              <a:t>L</a:t>
            </a:r>
            <a:r>
              <a:rPr kumimoji="0" lang="en-US" altLang="en-US" sz="1200" b="0" i="0" u="none" strike="noStrike" cap="none" normalizeH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ngGraph</a:t>
            </a:r>
            <a:r>
              <a:rPr kumimoji="0" lang="en-US" altLang="en-US" sz="12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)</a:t>
            </a:r>
            <a:endParaRPr kumimoji="0" lang="en-US" alt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lvl="1" defTabSz="914400" eaLnBrk="0" fontAlgn="base" hangingPunct="0">
              <a:spcBef>
                <a:spcPct val="0"/>
              </a:spcBef>
              <a:spcAft>
                <a:spcPct val="0"/>
              </a:spcAft>
              <a:buClrTx/>
              <a:buFont typeface="Wingdings" panose="05000000000000000000" pitchFamily="2" charset="2"/>
              <a:buChar char="q"/>
            </a:pPr>
            <a:r>
              <a:rPr lang="en-US" altLang="en-US" sz="1200" dirty="0" smtClean="0">
                <a:latin typeface="Arial" panose="020B0604020202020204" pitchFamily="34" charset="0"/>
              </a:rPr>
              <a:t>Creates Context for the LLM Model</a:t>
            </a:r>
          </a:p>
          <a:p>
            <a:pPr lvl="1" defTabSz="914400" eaLnBrk="0" fontAlgn="base" hangingPunct="0">
              <a:spcBef>
                <a:spcPct val="0"/>
              </a:spcBef>
              <a:spcAft>
                <a:spcPct val="0"/>
              </a:spcAft>
              <a:buClrTx/>
              <a:buFont typeface="Wingdings" panose="05000000000000000000" pitchFamily="2" charset="2"/>
              <a:buChar char="q"/>
            </a:pPr>
            <a:r>
              <a:rPr kumimoji="0" lang="en-US" alt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Re-Prompting(</a:t>
            </a:r>
            <a:r>
              <a:rPr lang="en-US" altLang="en-US" sz="1200" dirty="0" smtClean="0">
                <a:latin typeface="Arial" panose="020B0604020202020204" pitchFamily="34" charset="0"/>
              </a:rPr>
              <a:t>TBD in </a:t>
            </a:r>
            <a:r>
              <a:rPr kumimoji="0" lang="en-US" alt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future)</a:t>
            </a:r>
          </a:p>
          <a:p>
            <a:pPr lvl="1" defTabSz="914400" eaLnBrk="0" fontAlgn="base" hangingPunct="0">
              <a:spcBef>
                <a:spcPct val="0"/>
              </a:spcBef>
              <a:spcAft>
                <a:spcPct val="0"/>
              </a:spcAft>
              <a:buClrTx/>
              <a:buFont typeface="Wingdings" panose="05000000000000000000" pitchFamily="2" charset="2"/>
              <a:buChar char="q"/>
            </a:pPr>
            <a:r>
              <a:rPr lang="en-US" altLang="en-US" sz="1200" dirty="0" smtClean="0">
                <a:latin typeface="Arial" panose="020B0604020202020204" pitchFamily="34" charset="0"/>
              </a:rPr>
              <a:t>Undo and redo</a:t>
            </a:r>
            <a:endParaRPr kumimoji="0" lang="en-US" alt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2937" y="797673"/>
            <a:ext cx="4419349" cy="3804808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3232593" y="4702509"/>
            <a:ext cx="3440814" cy="3539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2795" lvl="1" indent="0">
              <a:buNone/>
            </a:pPr>
            <a:r>
              <a:rPr lang="en-US" dirty="0"/>
              <a:t>Design Reference – </a:t>
            </a:r>
            <a:r>
              <a:rPr lang="en-US" dirty="0">
                <a:hlinkClick r:id="rId3"/>
              </a:rPr>
              <a:t>MEMGPT</a:t>
            </a:r>
            <a:r>
              <a:rPr lang="en-US" dirty="0"/>
              <a:t>, </a:t>
            </a:r>
            <a:r>
              <a:rPr lang="en-US" dirty="0">
                <a:hlinkClick r:id="rId4"/>
              </a:rPr>
              <a:t>PAP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4302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EEF2DB2-BB83-4BB9-93BB-FF8132CD5D8B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82937" y="875247"/>
            <a:ext cx="4311016" cy="3704378"/>
          </a:xfrm>
        </p:spPr>
        <p:txBody>
          <a:bodyPr/>
          <a:lstStyle/>
          <a:p>
            <a:pPr lvl="0"/>
            <a:r>
              <a:rPr lang="en-US" b="1" dirty="0">
                <a:solidFill>
                  <a:schemeClr val="accent4"/>
                </a:solidFill>
              </a:rPr>
              <a:t>User Query:</a:t>
            </a:r>
          </a:p>
          <a:p>
            <a:pPr lvl="1"/>
            <a:r>
              <a:rPr lang="en-US" dirty="0"/>
              <a:t>The user initiates a query, providing input to the system.</a:t>
            </a:r>
          </a:p>
          <a:p>
            <a:pPr lvl="0"/>
            <a:r>
              <a:rPr lang="en-US" b="1" dirty="0">
                <a:solidFill>
                  <a:schemeClr val="accent4"/>
                </a:solidFill>
              </a:rPr>
              <a:t>Step 1 &amp; 2:</a:t>
            </a:r>
          </a:p>
          <a:p>
            <a:pPr lvl="1"/>
            <a:r>
              <a:rPr lang="en-US" dirty="0"/>
              <a:t>The </a:t>
            </a:r>
            <a:r>
              <a:rPr lang="en-US" b="1" dirty="0"/>
              <a:t>orchestrator</a:t>
            </a:r>
            <a:r>
              <a:rPr lang="en-US" dirty="0"/>
              <a:t> receives the query and logs it into the </a:t>
            </a:r>
            <a:r>
              <a:rPr lang="en-US" dirty="0" smtClean="0"/>
              <a:t>database(Archival) </a:t>
            </a:r>
            <a:r>
              <a:rPr lang="en-US" dirty="0"/>
              <a:t>for persistence and future reference.</a:t>
            </a:r>
          </a:p>
          <a:p>
            <a:pPr lvl="0"/>
            <a:r>
              <a:rPr lang="en-US" b="1" dirty="0" smtClean="0">
                <a:solidFill>
                  <a:schemeClr val="accent4"/>
                </a:solidFill>
              </a:rPr>
              <a:t>Step 3:</a:t>
            </a:r>
          </a:p>
          <a:p>
            <a:pPr lvl="1">
              <a:defRPr/>
            </a:pPr>
            <a:r>
              <a:rPr lang="en-US" dirty="0" smtClean="0"/>
              <a:t>The </a:t>
            </a:r>
            <a:r>
              <a:rPr lang="en-US" dirty="0"/>
              <a:t>orchestrator retrieves and computes the </a:t>
            </a:r>
            <a:r>
              <a:rPr lang="en-US" b="1" dirty="0"/>
              <a:t>context</a:t>
            </a:r>
            <a:r>
              <a:rPr lang="en-US" dirty="0"/>
              <a:t> for the query using:</a:t>
            </a:r>
          </a:p>
          <a:p>
            <a:pPr lvl="2"/>
            <a:r>
              <a:rPr lang="en-US" b="1" dirty="0"/>
              <a:t>The current </a:t>
            </a:r>
            <a:r>
              <a:rPr lang="en-US" b="1" dirty="0" smtClean="0"/>
              <a:t>state of the app (State </a:t>
            </a:r>
            <a:r>
              <a:rPr lang="en-US" b="1" dirty="0"/>
              <a:t>Memory).</a:t>
            </a:r>
          </a:p>
          <a:p>
            <a:pPr lvl="2"/>
            <a:r>
              <a:rPr lang="en-US" b="1" dirty="0"/>
              <a:t>Historical </a:t>
            </a:r>
            <a:r>
              <a:rPr lang="en-US" b="1" dirty="0" smtClean="0"/>
              <a:t>conversation from Archival memory, if needed.</a:t>
            </a:r>
            <a:endParaRPr lang="en-US" b="1" dirty="0"/>
          </a:p>
          <a:p>
            <a:pPr lvl="1"/>
            <a:r>
              <a:rPr lang="en-US" b="1" dirty="0"/>
              <a:t>Context computation </a:t>
            </a:r>
            <a:r>
              <a:rPr lang="en-US" dirty="0"/>
              <a:t>ensures that the LLM receives both current and relevant historical data.</a:t>
            </a:r>
          </a:p>
          <a:p>
            <a:pPr lvl="0"/>
            <a:r>
              <a:rPr lang="en-US" b="1" dirty="0">
                <a:solidFill>
                  <a:schemeClr val="accent4"/>
                </a:solidFill>
              </a:rPr>
              <a:t>Step 4:</a:t>
            </a:r>
          </a:p>
          <a:p>
            <a:pPr lvl="1"/>
            <a:r>
              <a:rPr lang="en-US" dirty="0"/>
              <a:t>The orchestrator sends the query along with the computed context to the </a:t>
            </a:r>
            <a:r>
              <a:rPr lang="en-US" b="1" dirty="0"/>
              <a:t>LLM</a:t>
            </a:r>
            <a:r>
              <a:rPr lang="en-US" dirty="0"/>
              <a:t>.</a:t>
            </a:r>
          </a:p>
          <a:p>
            <a:pPr lvl="0"/>
            <a:r>
              <a:rPr lang="en-US" b="1" dirty="0">
                <a:solidFill>
                  <a:schemeClr val="accent4"/>
                </a:solidFill>
              </a:rPr>
              <a:t>Step 5:</a:t>
            </a:r>
          </a:p>
          <a:p>
            <a:pPr lvl="1"/>
            <a:r>
              <a:rPr lang="en-US" dirty="0"/>
              <a:t>The LLM processes the information and provides a response.</a:t>
            </a:r>
          </a:p>
          <a:p>
            <a:pPr lvl="0"/>
            <a:r>
              <a:rPr lang="en-US" b="1" dirty="0">
                <a:solidFill>
                  <a:schemeClr val="accent4"/>
                </a:solidFill>
              </a:rPr>
              <a:t>Step </a:t>
            </a:r>
            <a:r>
              <a:rPr lang="en-US" b="1" dirty="0" smtClean="0">
                <a:solidFill>
                  <a:schemeClr val="accent4"/>
                </a:solidFill>
              </a:rPr>
              <a:t>6-7:</a:t>
            </a:r>
            <a:endParaRPr lang="en-US" b="1" dirty="0">
              <a:solidFill>
                <a:schemeClr val="accent4"/>
              </a:solidFill>
            </a:endParaRPr>
          </a:p>
          <a:p>
            <a:pPr lvl="1"/>
            <a:r>
              <a:rPr lang="en-US" b="1" dirty="0"/>
              <a:t>The orchestrator:</a:t>
            </a:r>
          </a:p>
          <a:p>
            <a:pPr lvl="2"/>
            <a:r>
              <a:rPr lang="en-US" b="1" dirty="0"/>
              <a:t>Updates the database (to reflect new changes).</a:t>
            </a:r>
          </a:p>
          <a:p>
            <a:pPr lvl="2"/>
            <a:r>
              <a:rPr lang="en-US" b="1" dirty="0"/>
              <a:t>Sends the response back to the user.</a:t>
            </a:r>
          </a:p>
          <a:p>
            <a:pPr lvl="2"/>
            <a:endParaRPr lang="en-US" dirty="0"/>
          </a:p>
          <a:p>
            <a:pPr lvl="1"/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C2BC65-5C48-43EC-9B26-11B4C76B1D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low of Operations</a:t>
            </a: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3954" y="825032"/>
            <a:ext cx="4201704" cy="3617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2091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EEF2DB2-BB83-4BB9-93BB-FF8132CD5D8B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82937" y="875247"/>
            <a:ext cx="4311016" cy="3704378"/>
          </a:xfrm>
        </p:spPr>
        <p:txBody>
          <a:bodyPr/>
          <a:lstStyle/>
          <a:p>
            <a:pPr lvl="0"/>
            <a:r>
              <a:rPr lang="en-US" b="1" dirty="0" smtClean="0">
                <a:solidFill>
                  <a:schemeClr val="accent4"/>
                </a:solidFill>
              </a:rPr>
              <a:t>Step 8: </a:t>
            </a:r>
            <a:r>
              <a:rPr lang="en-US" b="1" dirty="0">
                <a:solidFill>
                  <a:schemeClr val="accent4"/>
                </a:solidFill>
              </a:rPr>
              <a:t>CRUD Operation - Client to </a:t>
            </a:r>
            <a:r>
              <a:rPr lang="en-US" b="1" dirty="0" smtClean="0">
                <a:solidFill>
                  <a:schemeClr val="accent4"/>
                </a:solidFill>
              </a:rPr>
              <a:t>Backend</a:t>
            </a:r>
          </a:p>
          <a:p>
            <a:pPr lvl="1"/>
            <a:r>
              <a:rPr lang="en-US" dirty="0"/>
              <a:t>If a </a:t>
            </a:r>
            <a:r>
              <a:rPr lang="en-US" b="1" dirty="0"/>
              <a:t>CRUD operation</a:t>
            </a:r>
            <a:r>
              <a:rPr lang="en-US" dirty="0"/>
              <a:t> is </a:t>
            </a:r>
            <a:r>
              <a:rPr lang="en-US" dirty="0" smtClean="0"/>
              <a:t>performed on the client:</a:t>
            </a:r>
          </a:p>
          <a:p>
            <a:pPr lvl="2"/>
            <a:r>
              <a:rPr lang="en-US" dirty="0"/>
              <a:t>The </a:t>
            </a:r>
            <a:r>
              <a:rPr lang="en-US" b="1" dirty="0"/>
              <a:t>client-side CRUD module</a:t>
            </a:r>
            <a:r>
              <a:rPr lang="en-US" dirty="0"/>
              <a:t> notifies the </a:t>
            </a:r>
            <a:r>
              <a:rPr lang="en-US" dirty="0" smtClean="0"/>
              <a:t>AI-Backend </a:t>
            </a:r>
            <a:r>
              <a:rPr lang="en-US" dirty="0"/>
              <a:t>of the operation via an API call</a:t>
            </a:r>
            <a:r>
              <a:rPr lang="en-US" dirty="0" smtClean="0"/>
              <a:t>.</a:t>
            </a:r>
          </a:p>
          <a:p>
            <a:pPr lvl="2"/>
            <a:r>
              <a:rPr lang="en-US" dirty="0"/>
              <a:t>The </a:t>
            </a:r>
            <a:r>
              <a:rPr lang="en-US" b="1" dirty="0"/>
              <a:t>orchestrator</a:t>
            </a:r>
            <a:r>
              <a:rPr lang="en-US" dirty="0"/>
              <a:t> logs this information and </a:t>
            </a:r>
            <a:r>
              <a:rPr lang="en-US" b="1" dirty="0"/>
              <a:t>updates the </a:t>
            </a:r>
            <a:r>
              <a:rPr lang="en-US" b="1" dirty="0" smtClean="0"/>
              <a:t>State </a:t>
            </a:r>
            <a:r>
              <a:rPr lang="en-US" b="1" dirty="0"/>
              <a:t>Memory</a:t>
            </a:r>
            <a:r>
              <a:rPr lang="en-US" dirty="0"/>
              <a:t> to reflect the changes in the app </a:t>
            </a:r>
            <a:r>
              <a:rPr lang="en-US" dirty="0" smtClean="0"/>
              <a:t>state</a:t>
            </a:r>
            <a:r>
              <a:rPr lang="en-US" dirty="0"/>
              <a:t> </a:t>
            </a:r>
            <a:r>
              <a:rPr lang="en-US" dirty="0" smtClean="0"/>
              <a:t>and updates the version.</a:t>
            </a:r>
          </a:p>
          <a:p>
            <a:pPr lvl="2"/>
            <a:endParaRPr lang="en-US" b="1" dirty="0" smtClean="0"/>
          </a:p>
          <a:p>
            <a:pPr lvl="2"/>
            <a:endParaRPr lang="en-US" sz="1500" b="1" dirty="0"/>
          </a:p>
          <a:p>
            <a:r>
              <a:rPr lang="en-US" sz="1500" b="1" dirty="0">
                <a:solidFill>
                  <a:schemeClr val="accent4"/>
                </a:solidFill>
              </a:rPr>
              <a:t>Advantages of Step </a:t>
            </a:r>
            <a:r>
              <a:rPr lang="en-US" sz="1500" b="1" dirty="0" smtClean="0">
                <a:solidFill>
                  <a:schemeClr val="accent4"/>
                </a:solidFill>
              </a:rPr>
              <a:t>8</a:t>
            </a:r>
            <a:r>
              <a:rPr lang="en-US" sz="1500" dirty="0" smtClean="0">
                <a:solidFill>
                  <a:schemeClr val="accent4"/>
                </a:solidFill>
              </a:rPr>
              <a:t>	</a:t>
            </a:r>
          </a:p>
          <a:p>
            <a:pPr lvl="1"/>
            <a:r>
              <a:rPr lang="en-US" dirty="0"/>
              <a:t>Seamless CRUD Synchronization</a:t>
            </a:r>
            <a:r>
              <a:rPr lang="en-US" dirty="0" smtClean="0"/>
              <a:t>:</a:t>
            </a:r>
          </a:p>
          <a:p>
            <a:pPr lvl="2"/>
            <a:r>
              <a:rPr lang="en-US" dirty="0"/>
              <a:t>Ensures that </a:t>
            </a:r>
            <a:r>
              <a:rPr lang="en-US" dirty="0" smtClean="0"/>
              <a:t>if </a:t>
            </a:r>
            <a:r>
              <a:rPr lang="en-US" b="1" dirty="0" smtClean="0"/>
              <a:t>CRUD </a:t>
            </a:r>
            <a:r>
              <a:rPr lang="en-US" b="1" dirty="0"/>
              <a:t>operations</a:t>
            </a:r>
            <a:r>
              <a:rPr lang="en-US" dirty="0"/>
              <a:t> performed </a:t>
            </a:r>
            <a:r>
              <a:rPr lang="en-US" dirty="0" smtClean="0"/>
              <a:t>directly on client which do not use LLM then, also we update the app state in our state/core memory.</a:t>
            </a:r>
          </a:p>
          <a:p>
            <a:pPr lvl="2"/>
            <a:r>
              <a:rPr lang="en-US" dirty="0"/>
              <a:t>Keeps the </a:t>
            </a:r>
            <a:r>
              <a:rPr lang="en-US" b="1" dirty="0"/>
              <a:t>Core Memory</a:t>
            </a:r>
            <a:r>
              <a:rPr lang="en-US" dirty="0"/>
              <a:t> updated with the latest app state, ensuring consistency for future queries.</a:t>
            </a:r>
            <a:endParaRPr lang="en-US" b="1" dirty="0"/>
          </a:p>
          <a:p>
            <a:pPr lvl="2"/>
            <a:endParaRPr lang="en-US" b="1" dirty="0" smtClean="0"/>
          </a:p>
          <a:p>
            <a:pPr lvl="2"/>
            <a:endParaRPr lang="en-US" b="1" dirty="0"/>
          </a:p>
          <a:p>
            <a:pPr marL="345591" lvl="2" indent="0">
              <a:buNone/>
            </a:pPr>
            <a:endParaRPr lang="en-US" b="1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C2BC65-5C48-43EC-9B26-11B4C76B1D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low of Operations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3954" y="825032"/>
            <a:ext cx="4201704" cy="3617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3447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en-US" sz="1800" b="1" dirty="0" smtClean="0"/>
              <a:t>Function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200" b="1" dirty="0" smtClean="0"/>
              <a:t>Current state of the app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200" b="1" dirty="0" smtClean="0"/>
              <a:t>Version -  for each entry(for undo and redo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200" b="1" dirty="0" smtClean="0"/>
              <a:t>Metadata – e.g. time stamp etc.</a:t>
            </a:r>
          </a:p>
          <a:p>
            <a:r>
              <a:rPr lang="en-US" sz="1800" b="1" dirty="0" smtClean="0"/>
              <a:t>Operations</a:t>
            </a:r>
          </a:p>
          <a:p>
            <a:pPr lvl="2"/>
            <a:r>
              <a:rPr lang="en-US" sz="1200" b="1" dirty="0" smtClean="0"/>
              <a:t>CRUD </a:t>
            </a:r>
          </a:p>
          <a:p>
            <a:pPr lvl="2"/>
            <a:r>
              <a:rPr lang="en-US" sz="1200" b="1" dirty="0" smtClean="0"/>
              <a:t>Undo and Redo</a:t>
            </a:r>
            <a:endParaRPr lang="en-US" sz="1200" b="1" dirty="0"/>
          </a:p>
          <a:p>
            <a:r>
              <a:rPr lang="en-US" sz="1800" b="1" dirty="0" smtClean="0"/>
              <a:t>Database Schema</a:t>
            </a:r>
            <a:r>
              <a:rPr lang="en-US" dirty="0" smtClean="0"/>
              <a:t> – next page</a:t>
            </a:r>
          </a:p>
          <a:p>
            <a:pPr lvl="1"/>
            <a:endParaRPr lang="en-US" dirty="0" smtClean="0"/>
          </a:p>
          <a:p>
            <a:pPr lvl="2"/>
            <a:endParaRPr lang="en-US" dirty="0"/>
          </a:p>
          <a:p>
            <a:pPr lvl="2"/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ate(core) memory</a:t>
            </a:r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97949" y="271345"/>
            <a:ext cx="1451011" cy="4704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7935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ata base schema – Relation diagram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65229" y="576145"/>
            <a:ext cx="1354649" cy="4391959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268942" y="756189"/>
            <a:ext cx="6406178" cy="40318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/>
            </a:r>
            <a:b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</a:br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    "</a:t>
            </a:r>
            <a:r>
              <a:rPr lang="en-US" sz="800" dirty="0" err="1">
                <a:solidFill>
                  <a:schemeClr val="tx2"/>
                </a:solidFill>
                <a:latin typeface="Consolas" panose="020B0609020204030204" pitchFamily="49" charset="0"/>
              </a:rPr>
              <a:t>component_name</a:t>
            </a:r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": "Electric Scooter",</a:t>
            </a:r>
          </a:p>
          <a:p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    "</a:t>
            </a:r>
            <a:r>
              <a:rPr lang="en-US" sz="800" dirty="0" err="1">
                <a:solidFill>
                  <a:schemeClr val="tx2"/>
                </a:solidFill>
                <a:latin typeface="Consolas" panose="020B0609020204030204" pitchFamily="49" charset="0"/>
              </a:rPr>
              <a:t>component_description</a:t>
            </a:r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": "Personal electric scooter system",</a:t>
            </a:r>
          </a:p>
          <a:p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    "requirements": [</a:t>
            </a:r>
          </a:p>
          <a:p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        {</a:t>
            </a:r>
          </a:p>
          <a:p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           </a:t>
            </a:r>
            <a:r>
              <a:rPr lang="en-US" sz="800" dirty="0" smtClean="0">
                <a:solidFill>
                  <a:schemeClr val="tx2"/>
                </a:solidFill>
                <a:latin typeface="Consolas" panose="020B0609020204030204" pitchFamily="49" charset="0"/>
              </a:rPr>
              <a:t> "description": "Charge time to 80%",</a:t>
            </a:r>
          </a:p>
          <a:p>
            <a:r>
              <a:rPr lang="en-US" sz="800" dirty="0" smtClean="0">
                <a:solidFill>
                  <a:schemeClr val="tx2"/>
                </a:solidFill>
                <a:latin typeface="Consolas" panose="020B0609020204030204" pitchFamily="49" charset="0"/>
              </a:rPr>
              <a:t>            “index": “1”,</a:t>
            </a:r>
          </a:p>
          <a:p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 smtClean="0">
                <a:solidFill>
                  <a:schemeClr val="tx2"/>
                </a:solidFill>
                <a:latin typeface="Consolas" panose="020B0609020204030204" pitchFamily="49" charset="0"/>
              </a:rPr>
              <a:t>           “title": </a:t>
            </a:r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"Charge time to 80</a:t>
            </a:r>
            <a:r>
              <a:rPr lang="en-US" sz="800" dirty="0" smtClean="0">
                <a:solidFill>
                  <a:schemeClr val="tx2"/>
                </a:solidFill>
                <a:latin typeface="Consolas" panose="020B0609020204030204" pitchFamily="49" charset="0"/>
              </a:rPr>
              <a:t>%",</a:t>
            </a:r>
          </a:p>
          <a:p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            "</a:t>
            </a:r>
            <a:r>
              <a:rPr lang="en-US" sz="800" dirty="0" err="1">
                <a:solidFill>
                  <a:schemeClr val="tx2"/>
                </a:solidFill>
                <a:latin typeface="Consolas" panose="020B0609020204030204" pitchFamily="49" charset="0"/>
              </a:rPr>
              <a:t>sub_requirements</a:t>
            </a:r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": [</a:t>
            </a:r>
          </a:p>
          <a:p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                {"description": "Battery longevity", "spec": "500 cycles</a:t>
            </a:r>
            <a:r>
              <a:rPr lang="en-US" sz="800" dirty="0" smtClean="0">
                <a:solidFill>
                  <a:schemeClr val="tx2"/>
                </a:solidFill>
                <a:latin typeface="Consolas" panose="020B0609020204030204" pitchFamily="49" charset="0"/>
              </a:rPr>
              <a:t>"}</a:t>
            </a:r>
          </a:p>
          <a:p>
            <a:r>
              <a:rPr lang="en-US" sz="800" dirty="0" smtClean="0">
                <a:solidFill>
                  <a:schemeClr val="tx2"/>
                </a:solidFill>
                <a:latin typeface="Consolas" panose="020B0609020204030204" pitchFamily="49" charset="0"/>
              </a:rPr>
              <a:t>                 “index” : ”1”,</a:t>
            </a:r>
          </a:p>
          <a:p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            </a:t>
            </a:r>
            <a:r>
              <a:rPr lang="en-US" sz="800" dirty="0" smtClean="0">
                <a:solidFill>
                  <a:schemeClr val="tx2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   </a:t>
            </a:r>
            <a:r>
              <a:rPr lang="en-US" sz="800" dirty="0" smtClean="0">
                <a:solidFill>
                  <a:schemeClr val="tx2"/>
                </a:solidFill>
                <a:latin typeface="Consolas" panose="020B0609020204030204" pitchFamily="49" charset="0"/>
              </a:rPr>
              <a:t>"</a:t>
            </a:r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functions": [</a:t>
            </a:r>
          </a:p>
          <a:p>
            <a:pPr lvl="1"/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              </a:t>
            </a:r>
            <a:r>
              <a:rPr lang="en-US" sz="800" dirty="0" smtClean="0">
                <a:solidFill>
                  <a:schemeClr val="tx2"/>
                </a:solidFill>
                <a:latin typeface="Consolas" panose="020B0609020204030204" pitchFamily="49" charset="0"/>
              </a:rPr>
              <a:t>{“</a:t>
            </a:r>
            <a:r>
              <a:rPr lang="en-US" sz="800" dirty="0" err="1" smtClean="0">
                <a:solidFill>
                  <a:schemeClr val="tx2"/>
                </a:solidFill>
                <a:latin typeface="Consolas" panose="020B0609020204030204" pitchFamily="49" charset="0"/>
              </a:rPr>
              <a:t>title:”charging</a:t>
            </a:r>
            <a:r>
              <a:rPr lang="en-US" sz="800" dirty="0" smtClean="0">
                <a:solidFill>
                  <a:schemeClr val="tx2"/>
                </a:solidFill>
                <a:latin typeface="Consolas" panose="020B0609020204030204" pitchFamily="49" charset="0"/>
              </a:rPr>
              <a:t>”, "description</a:t>
            </a:r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": "Turn on/off</a:t>
            </a:r>
            <a:r>
              <a:rPr lang="en-US" sz="800" dirty="0" smtClean="0">
                <a:solidFill>
                  <a:schemeClr val="tx2"/>
                </a:solidFill>
                <a:latin typeface="Consolas" panose="020B0609020204030204" pitchFamily="49" charset="0"/>
              </a:rPr>
              <a:t>", “index": “1"},</a:t>
            </a:r>
          </a:p>
          <a:p>
            <a:pPr lvl="1"/>
            <a:r>
              <a:rPr lang="en-US" sz="800" dirty="0" smtClean="0">
                <a:solidFill>
                  <a:schemeClr val="tx2"/>
                </a:solidFill>
                <a:latin typeface="Consolas" panose="020B0609020204030204" pitchFamily="49" charset="0"/>
              </a:rPr>
              <a:t>	     "physicals": [</a:t>
            </a:r>
          </a:p>
          <a:p>
            <a:pPr lvl="1"/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              </a:t>
            </a:r>
            <a:r>
              <a:rPr lang="en-US" sz="800" dirty="0" smtClean="0">
                <a:solidFill>
                  <a:schemeClr val="tx2"/>
                </a:solidFill>
                <a:latin typeface="Consolas" panose="020B0609020204030204" pitchFamily="49" charset="0"/>
              </a:rPr>
              <a:t>    {"</a:t>
            </a:r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component": "Battery", "type": "Lithium-ion, 48V"},</a:t>
            </a:r>
          </a:p>
          <a:p>
            <a:pPr lvl="1"/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                </a:t>
            </a:r>
            <a:r>
              <a:rPr lang="en-US" sz="800" dirty="0" smtClean="0">
                <a:solidFill>
                  <a:schemeClr val="tx2"/>
                </a:solidFill>
                <a:latin typeface="Consolas" panose="020B0609020204030204" pitchFamily="49" charset="0"/>
              </a:rPr>
              <a:t>  {"</a:t>
            </a:r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component": "Motor", "type": "Hub motor"}</a:t>
            </a:r>
          </a:p>
          <a:p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           </a:t>
            </a:r>
            <a:r>
              <a:rPr lang="en-US" sz="800" dirty="0" smtClean="0">
                <a:solidFill>
                  <a:schemeClr val="tx2"/>
                </a:solidFill>
                <a:latin typeface="Consolas" panose="020B0609020204030204" pitchFamily="49" charset="0"/>
              </a:rPr>
              <a:t>	      ]</a:t>
            </a:r>
            <a:endParaRPr lang="en-US" sz="800" dirty="0">
              <a:solidFill>
                <a:schemeClr val="tx2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            </a:t>
            </a:r>
            <a:r>
              <a:rPr lang="en-US" sz="800" dirty="0" smtClean="0">
                <a:solidFill>
                  <a:schemeClr val="tx2"/>
                </a:solidFill>
                <a:latin typeface="Consolas" panose="020B0609020204030204" pitchFamily="49" charset="0"/>
              </a:rPr>
              <a:t> ],</a:t>
            </a:r>
            <a:endParaRPr lang="en-US" sz="800" dirty="0">
              <a:solidFill>
                <a:schemeClr val="tx2"/>
              </a:solidFill>
              <a:latin typeface="Consolas" panose="020B0609020204030204" pitchFamily="49" charset="0"/>
            </a:endParaRPr>
          </a:p>
          <a:p>
            <a:r>
              <a:rPr lang="en-US" sz="800" dirty="0" smtClean="0">
                <a:solidFill>
                  <a:schemeClr val="tx2"/>
                </a:solidFill>
                <a:latin typeface="Consolas" panose="020B0609020204030204" pitchFamily="49" charset="0"/>
              </a:rPr>
              <a:t>        },</a:t>
            </a:r>
          </a:p>
          <a:p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        {</a:t>
            </a:r>
          </a:p>
          <a:p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            "description": "Power for 40 miles",</a:t>
            </a:r>
          </a:p>
          <a:p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            </a:t>
            </a:r>
            <a:r>
              <a:rPr lang="en-US" sz="800" dirty="0" smtClean="0">
                <a:solidFill>
                  <a:schemeClr val="tx2"/>
                </a:solidFill>
                <a:latin typeface="Consolas" panose="020B0609020204030204" pitchFamily="49" charset="0"/>
              </a:rPr>
              <a:t>“title": </a:t>
            </a:r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"10Ah battery",</a:t>
            </a:r>
          </a:p>
          <a:p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            "functions": [</a:t>
            </a:r>
          </a:p>
          <a:p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                {"description": "Power output", "operation": "regulated output"}</a:t>
            </a:r>
          </a:p>
          <a:p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            ],</a:t>
            </a:r>
          </a:p>
          <a:p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            "physicals": [</a:t>
            </a:r>
          </a:p>
          <a:p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                {"component": "Motor controller", "type": "PWM"}</a:t>
            </a:r>
          </a:p>
          <a:p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            ]</a:t>
            </a:r>
          </a:p>
          <a:p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        }</a:t>
            </a:r>
          </a:p>
          <a:p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    ]</a:t>
            </a:r>
          </a:p>
          <a:p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}</a:t>
            </a:r>
            <a:endParaRPr lang="en-US" sz="800" b="0" dirty="0">
              <a:solidFill>
                <a:schemeClr val="tx2"/>
              </a:solidFill>
              <a:effectLst/>
              <a:latin typeface="Consolas" panose="020B0609020204030204" pitchFamily="49" charset="0"/>
            </a:endParaRPr>
          </a:p>
        </p:txBody>
      </p:sp>
      <p:cxnSp>
        <p:nvCxnSpPr>
          <p:cNvPr id="7" name="Straight Arrow Connector 6"/>
          <p:cNvCxnSpPr>
            <a:stCxn id="20" idx="3"/>
          </p:cNvCxnSpPr>
          <p:nvPr/>
        </p:nvCxnSpPr>
        <p:spPr>
          <a:xfrm flipV="1">
            <a:off x="4097228" y="1130001"/>
            <a:ext cx="2709972" cy="9862"/>
          </a:xfrm>
          <a:prstGeom prst="straightConnector1">
            <a:avLst/>
          </a:prstGeom>
          <a:ln w="12700">
            <a:solidFill>
              <a:schemeClr val="bg2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/>
          <p:nvPr/>
        </p:nvCxnSpPr>
        <p:spPr>
          <a:xfrm>
            <a:off x="5064760" y="2103120"/>
            <a:ext cx="1691640" cy="10160"/>
          </a:xfrm>
          <a:prstGeom prst="straightConnector1">
            <a:avLst/>
          </a:prstGeom>
          <a:ln w="127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4826000" y="2661920"/>
            <a:ext cx="1930400" cy="772160"/>
          </a:xfrm>
          <a:prstGeom prst="straightConnector1">
            <a:avLst/>
          </a:prstGeom>
          <a:ln w="19050">
            <a:solidFill>
              <a:srgbClr val="E8772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4434840" y="3017520"/>
            <a:ext cx="2321560" cy="1488440"/>
          </a:xfrm>
          <a:prstGeom prst="straightConnector1">
            <a:avLst/>
          </a:prstGeom>
          <a:ln w="12700">
            <a:solidFill>
              <a:schemeClr val="tx2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>
          <a:xfrm>
            <a:off x="538240" y="1003151"/>
            <a:ext cx="3558988" cy="27342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/>
          <p:cNvSpPr txBox="1"/>
          <p:nvPr/>
        </p:nvSpPr>
        <p:spPr>
          <a:xfrm>
            <a:off x="4877881" y="853002"/>
            <a:ext cx="8851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chemeClr val="bg2"/>
                </a:solidFill>
              </a:rPr>
              <a:t>Component</a:t>
            </a:r>
            <a:endParaRPr lang="en-US" sz="1200" b="1" dirty="0">
              <a:solidFill>
                <a:schemeClr val="bg2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510988" y="1326776"/>
            <a:ext cx="4553772" cy="3142129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/>
          <p:cNvSpPr txBox="1"/>
          <p:nvPr/>
        </p:nvSpPr>
        <p:spPr>
          <a:xfrm>
            <a:off x="5381391" y="1836281"/>
            <a:ext cx="95731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rgbClr val="00B050"/>
                </a:solidFill>
              </a:rPr>
              <a:t>Requirement</a:t>
            </a:r>
            <a:endParaRPr lang="en-US" sz="1200" b="1" dirty="0">
              <a:solidFill>
                <a:srgbClr val="00B050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1214120" y="2266430"/>
            <a:ext cx="3611880" cy="842530"/>
          </a:xfrm>
          <a:prstGeom prst="rect">
            <a:avLst/>
          </a:prstGeom>
          <a:noFill/>
          <a:ln>
            <a:solidFill>
              <a:srgbClr val="E8772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/>
          <p:cNvSpPr/>
          <p:nvPr/>
        </p:nvSpPr>
        <p:spPr>
          <a:xfrm>
            <a:off x="1456018" y="2500108"/>
            <a:ext cx="3288702" cy="517412"/>
          </a:xfrm>
          <a:prstGeom prst="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/>
          <p:cNvSpPr txBox="1"/>
          <p:nvPr/>
        </p:nvSpPr>
        <p:spPr>
          <a:xfrm rot="1209538">
            <a:off x="5436604" y="2793112"/>
            <a:ext cx="78739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chemeClr val="accent4"/>
                </a:solidFill>
              </a:rPr>
              <a:t>Functions</a:t>
            </a:r>
            <a:endParaRPr lang="en-US" sz="1200" b="1" dirty="0">
              <a:solidFill>
                <a:schemeClr val="accent4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 rot="1963686">
            <a:off x="5337524" y="3526514"/>
            <a:ext cx="69923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Physical</a:t>
            </a:r>
            <a:endParaRPr lang="en-US" sz="1200" b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863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268942" y="756189"/>
            <a:ext cx="5647350" cy="40318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/>
            </a:r>
            <a:b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</a:br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    "</a:t>
            </a:r>
            <a:r>
              <a:rPr lang="en-US" sz="800" dirty="0" err="1">
                <a:solidFill>
                  <a:schemeClr val="tx2"/>
                </a:solidFill>
                <a:latin typeface="Consolas" panose="020B0609020204030204" pitchFamily="49" charset="0"/>
              </a:rPr>
              <a:t>component_name</a:t>
            </a:r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": "Electric Scooter",</a:t>
            </a:r>
          </a:p>
          <a:p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    "</a:t>
            </a:r>
            <a:r>
              <a:rPr lang="en-US" sz="800" dirty="0" err="1">
                <a:solidFill>
                  <a:schemeClr val="tx2"/>
                </a:solidFill>
                <a:latin typeface="Consolas" panose="020B0609020204030204" pitchFamily="49" charset="0"/>
              </a:rPr>
              <a:t>component_description</a:t>
            </a:r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": "Personal electric scooter system",</a:t>
            </a:r>
          </a:p>
          <a:p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    "requirements": [</a:t>
            </a:r>
          </a:p>
          <a:p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        {</a:t>
            </a:r>
          </a:p>
          <a:p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           </a:t>
            </a:r>
            <a:r>
              <a:rPr lang="en-US" sz="800" dirty="0" smtClean="0">
                <a:solidFill>
                  <a:schemeClr val="tx2"/>
                </a:solidFill>
                <a:latin typeface="Consolas" panose="020B0609020204030204" pitchFamily="49" charset="0"/>
              </a:rPr>
              <a:t> "description": "Charge time to 80%",</a:t>
            </a:r>
          </a:p>
          <a:p>
            <a:r>
              <a:rPr lang="en-US" sz="800" dirty="0" smtClean="0">
                <a:solidFill>
                  <a:schemeClr val="tx2"/>
                </a:solidFill>
                <a:latin typeface="Consolas" panose="020B0609020204030204" pitchFamily="49" charset="0"/>
              </a:rPr>
              <a:t>            “index": “1”,</a:t>
            </a:r>
          </a:p>
          <a:p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 smtClean="0">
                <a:solidFill>
                  <a:schemeClr val="tx2"/>
                </a:solidFill>
                <a:latin typeface="Consolas" panose="020B0609020204030204" pitchFamily="49" charset="0"/>
              </a:rPr>
              <a:t>           “title": </a:t>
            </a:r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"Charge time to 80</a:t>
            </a:r>
            <a:r>
              <a:rPr lang="en-US" sz="800" dirty="0" smtClean="0">
                <a:solidFill>
                  <a:schemeClr val="tx2"/>
                </a:solidFill>
                <a:latin typeface="Consolas" panose="020B0609020204030204" pitchFamily="49" charset="0"/>
              </a:rPr>
              <a:t>%",</a:t>
            </a:r>
          </a:p>
          <a:p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            "</a:t>
            </a:r>
            <a:r>
              <a:rPr lang="en-US" sz="800" dirty="0" err="1">
                <a:solidFill>
                  <a:schemeClr val="tx2"/>
                </a:solidFill>
                <a:latin typeface="Consolas" panose="020B0609020204030204" pitchFamily="49" charset="0"/>
              </a:rPr>
              <a:t>sub_requirements</a:t>
            </a:r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": [</a:t>
            </a:r>
          </a:p>
          <a:p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                {"description": "Battery longevity", "spec": "500 cycles</a:t>
            </a:r>
            <a:r>
              <a:rPr lang="en-US" sz="800" dirty="0" smtClean="0">
                <a:solidFill>
                  <a:schemeClr val="tx2"/>
                </a:solidFill>
                <a:latin typeface="Consolas" panose="020B0609020204030204" pitchFamily="49" charset="0"/>
              </a:rPr>
              <a:t>"}</a:t>
            </a:r>
          </a:p>
          <a:p>
            <a:r>
              <a:rPr lang="en-US" sz="800" dirty="0" smtClean="0">
                <a:solidFill>
                  <a:schemeClr val="tx2"/>
                </a:solidFill>
                <a:latin typeface="Consolas" panose="020B0609020204030204" pitchFamily="49" charset="0"/>
              </a:rPr>
              <a:t>                 “index” : ”1”,</a:t>
            </a:r>
          </a:p>
          <a:p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            </a:t>
            </a:r>
            <a:r>
              <a:rPr lang="en-US" sz="800" dirty="0" smtClean="0">
                <a:solidFill>
                  <a:schemeClr val="tx2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   </a:t>
            </a:r>
            <a:r>
              <a:rPr lang="en-US" sz="800" dirty="0" smtClean="0">
                <a:solidFill>
                  <a:schemeClr val="tx2"/>
                </a:solidFill>
                <a:latin typeface="Consolas" panose="020B0609020204030204" pitchFamily="49" charset="0"/>
              </a:rPr>
              <a:t>"</a:t>
            </a:r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functions": [</a:t>
            </a:r>
          </a:p>
          <a:p>
            <a:pPr lvl="1"/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             </a:t>
            </a:r>
            <a:r>
              <a:rPr lang="en-US" sz="800" dirty="0" smtClean="0">
                <a:solidFill>
                  <a:schemeClr val="tx2"/>
                </a:solidFill>
                <a:latin typeface="Consolas" panose="020B0609020204030204" pitchFamily="49" charset="0"/>
              </a:rPr>
              <a:t>{“</a:t>
            </a:r>
            <a:r>
              <a:rPr lang="en-US" sz="800" dirty="0" err="1" smtClean="0">
                <a:solidFill>
                  <a:schemeClr val="tx2"/>
                </a:solidFill>
                <a:latin typeface="Consolas" panose="020B0609020204030204" pitchFamily="49" charset="0"/>
              </a:rPr>
              <a:t>title:”charging</a:t>
            </a:r>
            <a:r>
              <a:rPr lang="en-US" sz="800" dirty="0" smtClean="0">
                <a:solidFill>
                  <a:schemeClr val="tx2"/>
                </a:solidFill>
                <a:latin typeface="Consolas" panose="020B0609020204030204" pitchFamily="49" charset="0"/>
              </a:rPr>
              <a:t>”, "description</a:t>
            </a:r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": "Turn on/off</a:t>
            </a:r>
            <a:r>
              <a:rPr lang="en-US" sz="800" dirty="0" smtClean="0">
                <a:solidFill>
                  <a:schemeClr val="tx2"/>
                </a:solidFill>
                <a:latin typeface="Consolas" panose="020B0609020204030204" pitchFamily="49" charset="0"/>
              </a:rPr>
              <a:t>", “index": “1"},</a:t>
            </a:r>
          </a:p>
          <a:p>
            <a:pPr lvl="1"/>
            <a:r>
              <a:rPr lang="en-US" sz="800" dirty="0" smtClean="0">
                <a:solidFill>
                  <a:schemeClr val="tx2"/>
                </a:solidFill>
                <a:latin typeface="Consolas" panose="020B0609020204030204" pitchFamily="49" charset="0"/>
              </a:rPr>
              <a:t>	     "physicals": [</a:t>
            </a:r>
          </a:p>
          <a:p>
            <a:pPr lvl="1"/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              </a:t>
            </a:r>
            <a:r>
              <a:rPr lang="en-US" sz="800" dirty="0" smtClean="0">
                <a:solidFill>
                  <a:schemeClr val="tx2"/>
                </a:solidFill>
                <a:latin typeface="Consolas" panose="020B0609020204030204" pitchFamily="49" charset="0"/>
              </a:rPr>
              <a:t>    {"</a:t>
            </a:r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component": "Battery", "type": "Lithium-ion, 48V"},</a:t>
            </a:r>
          </a:p>
          <a:p>
            <a:pPr lvl="1"/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                </a:t>
            </a:r>
            <a:r>
              <a:rPr lang="en-US" sz="800" dirty="0" smtClean="0">
                <a:solidFill>
                  <a:schemeClr val="tx2"/>
                </a:solidFill>
                <a:latin typeface="Consolas" panose="020B0609020204030204" pitchFamily="49" charset="0"/>
              </a:rPr>
              <a:t>  {"</a:t>
            </a:r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component": "Motor", "type": "Hub motor"}</a:t>
            </a:r>
          </a:p>
          <a:p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           </a:t>
            </a:r>
            <a:r>
              <a:rPr lang="en-US" sz="800" dirty="0" smtClean="0">
                <a:solidFill>
                  <a:schemeClr val="tx2"/>
                </a:solidFill>
                <a:latin typeface="Consolas" panose="020B0609020204030204" pitchFamily="49" charset="0"/>
              </a:rPr>
              <a:t>	      ]</a:t>
            </a:r>
            <a:endParaRPr lang="en-US" sz="800" dirty="0">
              <a:solidFill>
                <a:schemeClr val="tx2"/>
              </a:solidFill>
              <a:latin typeface="Consolas" panose="020B0609020204030204" pitchFamily="49" charset="0"/>
            </a:endParaRPr>
          </a:p>
          <a:p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            ],</a:t>
            </a:r>
          </a:p>
          <a:p>
            <a:r>
              <a:rPr lang="en-US" sz="800" dirty="0" smtClean="0">
                <a:solidFill>
                  <a:schemeClr val="tx2"/>
                </a:solidFill>
                <a:latin typeface="Consolas" panose="020B0609020204030204" pitchFamily="49" charset="0"/>
              </a:rPr>
              <a:t>        },</a:t>
            </a:r>
          </a:p>
          <a:p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        {</a:t>
            </a:r>
          </a:p>
          <a:p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            "description": "Power for 40 miles",</a:t>
            </a:r>
          </a:p>
          <a:p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            </a:t>
            </a:r>
            <a:r>
              <a:rPr lang="en-US" sz="800" dirty="0" smtClean="0">
                <a:solidFill>
                  <a:schemeClr val="tx2"/>
                </a:solidFill>
                <a:latin typeface="Consolas" panose="020B0609020204030204" pitchFamily="49" charset="0"/>
              </a:rPr>
              <a:t>“title": </a:t>
            </a:r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"10Ah battery",</a:t>
            </a:r>
          </a:p>
          <a:p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            "functions": [</a:t>
            </a:r>
          </a:p>
          <a:p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                {"description": "Power output", "operation": "regulated output"}</a:t>
            </a:r>
          </a:p>
          <a:p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            ],</a:t>
            </a:r>
          </a:p>
          <a:p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            "physicals": [</a:t>
            </a:r>
          </a:p>
          <a:p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                {"component": "Motor controller", "type": "PWM"}</a:t>
            </a:r>
          </a:p>
          <a:p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            ]</a:t>
            </a:r>
          </a:p>
          <a:p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        }</a:t>
            </a:r>
          </a:p>
          <a:p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    ]</a:t>
            </a:r>
          </a:p>
          <a:p>
            <a:r>
              <a:rPr lang="en-US" sz="800" dirty="0">
                <a:solidFill>
                  <a:schemeClr val="tx2"/>
                </a:solidFill>
                <a:latin typeface="Consolas" panose="020B0609020204030204" pitchFamily="49" charset="0"/>
              </a:rPr>
              <a:t>}</a:t>
            </a:r>
            <a:endParaRPr lang="en-US" sz="800" b="0" dirty="0">
              <a:solidFill>
                <a:schemeClr val="tx2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ata organization in the State memory </a:t>
            </a:r>
            <a:r>
              <a:rPr lang="en-US" dirty="0" err="1" smtClean="0"/>
              <a:t>db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510988" y="1017495"/>
            <a:ext cx="3558988" cy="27342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5968208" y="723235"/>
            <a:ext cx="2791805" cy="1207082"/>
            <a:chOff x="475296" y="798490"/>
            <a:chExt cx="3832544" cy="1899634"/>
          </a:xfrm>
        </p:grpSpPr>
        <p:sp>
          <p:nvSpPr>
            <p:cNvPr id="7" name="Rectangle 6"/>
            <p:cNvSpPr/>
            <p:nvPr/>
          </p:nvSpPr>
          <p:spPr>
            <a:xfrm>
              <a:off x="475296" y="798490"/>
              <a:ext cx="3832544" cy="1899634"/>
            </a:xfrm>
            <a:prstGeom prst="rect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10152" y="875035"/>
              <a:ext cx="3320944" cy="1746542"/>
            </a:xfrm>
            <a:prstGeom prst="rect">
              <a:avLst/>
            </a:prstGeom>
          </p:spPr>
        </p:pic>
      </p:grpSp>
      <p:grpSp>
        <p:nvGrpSpPr>
          <p:cNvPr id="9" name="Group 8"/>
          <p:cNvGrpSpPr/>
          <p:nvPr/>
        </p:nvGrpSpPr>
        <p:grpSpPr>
          <a:xfrm>
            <a:off x="5968209" y="2084072"/>
            <a:ext cx="2791805" cy="1452504"/>
            <a:chOff x="492813" y="2802232"/>
            <a:chExt cx="3815027" cy="2091739"/>
          </a:xfrm>
        </p:grpSpPr>
        <p:sp>
          <p:nvSpPr>
            <p:cNvPr id="10" name="Rectangle 9"/>
            <p:cNvSpPr/>
            <p:nvPr/>
          </p:nvSpPr>
          <p:spPr>
            <a:xfrm>
              <a:off x="492813" y="2802232"/>
              <a:ext cx="3815027" cy="2091739"/>
            </a:xfrm>
            <a:prstGeom prst="rect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72519" y="2883790"/>
              <a:ext cx="3347485" cy="1984552"/>
            </a:xfrm>
            <a:prstGeom prst="rect">
              <a:avLst/>
            </a:prstGeom>
          </p:spPr>
        </p:pic>
      </p:grpSp>
      <p:grpSp>
        <p:nvGrpSpPr>
          <p:cNvPr id="12" name="Group 11"/>
          <p:cNvGrpSpPr/>
          <p:nvPr/>
        </p:nvGrpSpPr>
        <p:grpSpPr>
          <a:xfrm>
            <a:off x="5970157" y="3616881"/>
            <a:ext cx="2708779" cy="1202025"/>
            <a:chOff x="4857272" y="727656"/>
            <a:chExt cx="3485825" cy="1837004"/>
          </a:xfrm>
        </p:grpSpPr>
        <p:sp>
          <p:nvSpPr>
            <p:cNvPr id="13" name="Rectangle 12"/>
            <p:cNvSpPr/>
            <p:nvPr/>
          </p:nvSpPr>
          <p:spPr>
            <a:xfrm>
              <a:off x="4857272" y="727656"/>
              <a:ext cx="3485825" cy="1837004"/>
            </a:xfrm>
            <a:prstGeom prst="rect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066244" y="762475"/>
              <a:ext cx="2905780" cy="1715749"/>
            </a:xfrm>
            <a:prstGeom prst="rect">
              <a:avLst/>
            </a:prstGeom>
          </p:spPr>
        </p:pic>
      </p:grpSp>
      <p:cxnSp>
        <p:nvCxnSpPr>
          <p:cNvPr id="16" name="Straight Arrow Connector 15"/>
          <p:cNvCxnSpPr/>
          <p:nvPr/>
        </p:nvCxnSpPr>
        <p:spPr>
          <a:xfrm>
            <a:off x="4069976" y="1154207"/>
            <a:ext cx="1898232" cy="2240"/>
          </a:xfrm>
          <a:prstGeom prst="straightConnector1">
            <a:avLst/>
          </a:prstGeom>
          <a:ln w="1905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/>
          <p:cNvSpPr/>
          <p:nvPr/>
        </p:nvSpPr>
        <p:spPr>
          <a:xfrm>
            <a:off x="510988" y="1326776"/>
            <a:ext cx="4553772" cy="3142129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Arrow Connector 19"/>
          <p:cNvCxnSpPr/>
          <p:nvPr/>
        </p:nvCxnSpPr>
        <p:spPr>
          <a:xfrm flipV="1">
            <a:off x="5064760" y="2689412"/>
            <a:ext cx="903448" cy="8068"/>
          </a:xfrm>
          <a:prstGeom prst="straightConnector1">
            <a:avLst/>
          </a:prstGeom>
          <a:ln w="1905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/>
          <p:cNvSpPr/>
          <p:nvPr/>
        </p:nvSpPr>
        <p:spPr>
          <a:xfrm>
            <a:off x="1004046" y="1881676"/>
            <a:ext cx="3567953" cy="1247604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5" name="Straight Arrow Connector 24"/>
          <p:cNvCxnSpPr>
            <a:endCxn id="13" idx="1"/>
          </p:cNvCxnSpPr>
          <p:nvPr/>
        </p:nvCxnSpPr>
        <p:spPr>
          <a:xfrm>
            <a:off x="4571999" y="2529840"/>
            <a:ext cx="1398158" cy="1688054"/>
          </a:xfrm>
          <a:prstGeom prst="straightConnector1">
            <a:avLst/>
          </a:prstGeom>
          <a:ln w="1905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434244" y="898311"/>
            <a:ext cx="8851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chemeClr val="bg2"/>
                </a:solidFill>
              </a:rPr>
              <a:t>Component</a:t>
            </a:r>
            <a:endParaRPr lang="en-US" sz="1200" b="1" dirty="0">
              <a:solidFill>
                <a:schemeClr val="bg2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064760" y="2413524"/>
            <a:ext cx="95731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rgbClr val="00B050"/>
                </a:solidFill>
              </a:rPr>
              <a:t>Requirement</a:t>
            </a:r>
            <a:endParaRPr lang="en-US" sz="1200" b="1" dirty="0">
              <a:solidFill>
                <a:srgbClr val="00B050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 rot="3120737">
            <a:off x="4897563" y="3352857"/>
            <a:ext cx="123783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/>
              <a:t>Sub-Requirement</a:t>
            </a:r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3002033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RPORATE">
  <a:themeElements>
    <a:clrScheme name="Custom 11">
      <a:dk1>
        <a:srgbClr val="005386"/>
      </a:dk1>
      <a:lt1>
        <a:srgbClr val="FFFFFF"/>
      </a:lt1>
      <a:dk2>
        <a:srgbClr val="001871"/>
      </a:dk2>
      <a:lt2>
        <a:srgbClr val="DA291C"/>
      </a:lt2>
      <a:accent1>
        <a:srgbClr val="005386"/>
      </a:accent1>
      <a:accent2>
        <a:srgbClr val="009FDE"/>
      </a:accent2>
      <a:accent3>
        <a:srgbClr val="FFCD00"/>
      </a:accent3>
      <a:accent4>
        <a:srgbClr val="E87722"/>
      </a:accent4>
      <a:accent5>
        <a:srgbClr val="C8D300"/>
      </a:accent5>
      <a:accent6>
        <a:srgbClr val="97999B"/>
      </a:accent6>
      <a:hlink>
        <a:srgbClr val="009FDE"/>
      </a:hlink>
      <a:folHlink>
        <a:srgbClr val="800080"/>
      </a:folHlink>
    </a:clrScheme>
    <a:fontScheme name="dassault 2">
      <a:majorFont>
        <a:latin typeface="3ds SemiBold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Custom Color 1">
      <a:srgbClr val="1B223D"/>
    </a:custClr>
  </a:custClrLst>
  <a:extLst>
    <a:ext uri="{05A4C25C-085E-4340-85A3-A5531E510DB2}">
      <thm15:themeFamily xmlns:thm15="http://schemas.microsoft.com/office/thememl/2012/main" name="Presentation5" id="{44E287BE-D8AE-014B-B7A0-869E3147E64E}" vid="{CECB0CA0-1DC0-5E4E-B9CE-A015AA919EF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assault_Template_Shortversion</Template>
  <TotalTime>42318</TotalTime>
  <Words>1999</Words>
  <Application>Microsoft Office PowerPoint</Application>
  <PresentationFormat>On-screen Show (16:9)</PresentationFormat>
  <Paragraphs>211</Paragraphs>
  <Slides>17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7" baseType="lpstr">
      <vt:lpstr>3ds Light</vt:lpstr>
      <vt:lpstr>3DS V2</vt:lpstr>
      <vt:lpstr>3DS V2 SemiBold</vt:lpstr>
      <vt:lpstr>Arial</vt:lpstr>
      <vt:lpstr>Arial Narrow</vt:lpstr>
      <vt:lpstr>Consolas</vt:lpstr>
      <vt:lpstr>Courier New</vt:lpstr>
      <vt:lpstr>Wingdings</vt:lpstr>
      <vt:lpstr>CORPORATE</vt:lpstr>
      <vt:lpstr>think-cell Slide</vt:lpstr>
      <vt:lpstr>Generative system design: Memory architecture</vt:lpstr>
      <vt:lpstr>Challenges </vt:lpstr>
      <vt:lpstr>Front end -UI</vt:lpstr>
      <vt:lpstr>xSystems high level design - Key Components</vt:lpstr>
      <vt:lpstr>Flow of Operations</vt:lpstr>
      <vt:lpstr>Flow of Operations</vt:lpstr>
      <vt:lpstr>State(core) memory</vt:lpstr>
      <vt:lpstr>Data base schema – Relation diagram</vt:lpstr>
      <vt:lpstr>Data organization in the State memory db</vt:lpstr>
      <vt:lpstr>State memory schematics – Main tables</vt:lpstr>
      <vt:lpstr>State memory – association tables</vt:lpstr>
      <vt:lpstr>State memory - association tables</vt:lpstr>
      <vt:lpstr>Advantages of Using a Database as memory</vt:lpstr>
      <vt:lpstr>Potential Enhancements</vt:lpstr>
      <vt:lpstr>Low Level task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ntilever force Direction</dc:title>
  <dc:creator>MARINC Alexander</dc:creator>
  <cp:lastModifiedBy>SAHU Prahlad</cp:lastModifiedBy>
  <cp:revision>81</cp:revision>
  <cp:lastPrinted>2013-06-27T08:50:33Z</cp:lastPrinted>
  <dcterms:created xsi:type="dcterms:W3CDTF">2024-11-09T18:25:30Z</dcterms:created>
  <dcterms:modified xsi:type="dcterms:W3CDTF">2025-01-28T08:57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 Version">
    <vt:lpwstr>1.0</vt:lpwstr>
  </property>
</Properties>
</file>